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mp3" ContentType="audio/m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1.xml" ContentType="application/vnd.openxmlformats-officedocument.theme+xml"/>
  <Override PartName="/ppt/tags/tag16.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7FFFDF19_24A3850.xml" ContentType="application/vnd.ms-powerpoint.comments+xml"/>
  <Override PartName="/ppt/notesSlides/notesSlide15.xml" ContentType="application/vnd.openxmlformats-officedocument.presentationml.notesSlide+xml"/>
  <Override PartName="/ppt/comments/modernComment_7FFFCF54_A840E54B.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4" r:id="rId4"/>
    <p:sldMasterId id="2147483709" r:id="rId5"/>
    <p:sldMasterId id="2147483736" r:id="rId6"/>
    <p:sldMasterId id="2147483787" r:id="rId7"/>
    <p:sldMasterId id="2147483812" r:id="rId8"/>
    <p:sldMasterId id="2147483842" r:id="rId9"/>
    <p:sldMasterId id="2147483866" r:id="rId10"/>
    <p:sldMasterId id="2147483890" r:id="rId11"/>
    <p:sldMasterId id="2147483905" r:id="rId12"/>
    <p:sldMasterId id="2147483941" r:id="rId13"/>
    <p:sldMasterId id="2147483966" r:id="rId14"/>
  </p:sldMasterIdLst>
  <p:notesMasterIdLst>
    <p:notesMasterId r:id="rId45"/>
  </p:notesMasterIdLst>
  <p:sldIdLst>
    <p:sldId id="257" r:id="rId15"/>
    <p:sldId id="2147475318" r:id="rId16"/>
    <p:sldId id="283" r:id="rId17"/>
    <p:sldId id="2147475319" r:id="rId18"/>
    <p:sldId id="2147475320" r:id="rId19"/>
    <p:sldId id="2147475287" r:id="rId20"/>
    <p:sldId id="2147482488" r:id="rId21"/>
    <p:sldId id="2147482717" r:id="rId22"/>
    <p:sldId id="2147482714" r:id="rId23"/>
    <p:sldId id="2147482715" r:id="rId24"/>
    <p:sldId id="4190" r:id="rId25"/>
    <p:sldId id="2147482727" r:id="rId26"/>
    <p:sldId id="2147482710" r:id="rId27"/>
    <p:sldId id="2147482718" r:id="rId28"/>
    <p:sldId id="2147482719" r:id="rId29"/>
    <p:sldId id="2147482720" r:id="rId30"/>
    <p:sldId id="2147482728" r:id="rId31"/>
    <p:sldId id="2147482729" r:id="rId32"/>
    <p:sldId id="2147482721" r:id="rId33"/>
    <p:sldId id="2147482722" r:id="rId34"/>
    <p:sldId id="258" r:id="rId35"/>
    <p:sldId id="4177" r:id="rId36"/>
    <p:sldId id="2147475227" r:id="rId37"/>
    <p:sldId id="2147482723" r:id="rId38"/>
    <p:sldId id="2147475225" r:id="rId39"/>
    <p:sldId id="2147482724" r:id="rId40"/>
    <p:sldId id="2147482726" r:id="rId41"/>
    <p:sldId id="2147482725" r:id="rId42"/>
    <p:sldId id="2147475226" r:id="rId43"/>
    <p:sldId id="2147471188" r:id="rId44"/>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F214B3-7CEC-38AE-4316-0F5FCDD45928}" name="Ana Duran" initials="AD" userId="S::ana.duran@iotaimpact.com::995a9660-0139-42d7-a321-5cb51c8cec50" providerId="AD"/>
  <p188:author id="{CC6AEBC9-D311-F1FC-8187-020122B6BF4C}" name="Andres Satizabal" initials="AS" userId="S::andres@iotaimpact.com::dd95d34c-96ea-48c0-9463-47f87a3366a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E39A6"/>
    <a:srgbClr val="8980F6"/>
    <a:srgbClr val="7B6CE6"/>
    <a:srgbClr val="FAFAFA"/>
    <a:srgbClr val="6C60B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125DC2-6BC9-4440-BD9B-65C1B22438C3}" v="33" dt="2024-07-10T16:11:45.982"/>
    <p1510:client id="{EED3DA48-75E5-8501-C3B4-36A6D73456A7}" v="5" dt="2024-07-10T15:32:16.6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20" autoAdjust="0"/>
    <p:restoredTop sz="94660"/>
  </p:normalViewPr>
  <p:slideViewPr>
    <p:cSldViewPr snapToGrid="0">
      <p:cViewPr>
        <p:scale>
          <a:sx n="67" d="100"/>
          <a:sy n="67" d="100"/>
        </p:scale>
        <p:origin x="420" y="1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1.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9.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notesMaster" Target="notesMasters/notesMaster1.xml"/><Relationship Id="rId53" Type="http://schemas.openxmlformats.org/officeDocument/2006/relationships/customXml" Target="../customXml/item3.xml"/><Relationship Id="rId5" Type="http://schemas.openxmlformats.org/officeDocument/2006/relationships/slideMaster" Target="slideMasters/slideMaster3.xml"/><Relationship Id="rId10" Type="http://schemas.openxmlformats.org/officeDocument/2006/relationships/slideMaster" Target="slideMasters/slideMaster8.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microsoft.com/office/2018/10/relationships/authors" Target="authors.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Master" Target="slideMasters/slideMaster12.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theme" Target="theme/theme1.xml"/><Relationship Id="rId8" Type="http://schemas.openxmlformats.org/officeDocument/2006/relationships/slideMaster" Target="slideMasters/slideMaster6.xml"/><Relationship Id="rId51" Type="http://schemas.microsoft.com/office/2015/10/relationships/revisionInfo" Target="revisionInfo.xml"/><Relationship Id="rId3" Type="http://schemas.openxmlformats.org/officeDocument/2006/relationships/slideMaster" Target="slideMasters/slideMaster1.xml"/><Relationship Id="rId12" Type="http://schemas.openxmlformats.org/officeDocument/2006/relationships/slideMaster" Target="slideMasters/slideMaster10.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presProps" Target="presProps.xml"/><Relationship Id="rId20" Type="http://schemas.openxmlformats.org/officeDocument/2006/relationships/slide" Target="slides/slide6.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s Satizabal" userId="S::andres@iotaimpact.com::dd95d34c-96ea-48c0-9463-47f87a3366af" providerId="AD" clId="Web-{EED3DA48-75E5-8501-C3B4-36A6D73456A7}"/>
    <pc:docChg chg="modSld">
      <pc:chgData name="Andres Satizabal" userId="S::andres@iotaimpact.com::dd95d34c-96ea-48c0-9463-47f87a3366af" providerId="AD" clId="Web-{EED3DA48-75E5-8501-C3B4-36A6D73456A7}" dt="2024-07-10T15:32:16.638" v="4" actId="20577"/>
      <pc:docMkLst>
        <pc:docMk/>
      </pc:docMkLst>
      <pc:sldChg chg="modSp">
        <pc:chgData name="Andres Satizabal" userId="S::andres@iotaimpact.com::dd95d34c-96ea-48c0-9463-47f87a3366af" providerId="AD" clId="Web-{EED3DA48-75E5-8501-C3B4-36A6D73456A7}" dt="2024-07-10T15:32:16.638" v="4" actId="20577"/>
        <pc:sldMkLst>
          <pc:docMk/>
          <pc:sldMk cId="1702435450" sldId="257"/>
        </pc:sldMkLst>
        <pc:spChg chg="mod">
          <ac:chgData name="Andres Satizabal" userId="S::andres@iotaimpact.com::dd95d34c-96ea-48c0-9463-47f87a3366af" providerId="AD" clId="Web-{EED3DA48-75E5-8501-C3B4-36A6D73456A7}" dt="2024-07-10T15:32:16.638" v="4" actId="20577"/>
          <ac:spMkLst>
            <pc:docMk/>
            <pc:sldMk cId="1702435450" sldId="257"/>
            <ac:spMk id="8" creationId="{6ACF5B25-6349-C5F4-C3E8-6D19EA278FA9}"/>
          </ac:spMkLst>
        </pc:spChg>
      </pc:sldChg>
    </pc:docChg>
  </pc:docChgLst>
  <pc:docChgLst>
    <pc:chgData name="Camila Valbuena" userId="96dddc91-0310-4901-8518-e86c705ebbd6" providerId="ADAL" clId="{289F64AF-0AA4-47A6-8069-0B1D64FC8B4F}"/>
    <pc:docChg chg="undo custSel addSld delSld modSld sldOrd delMainMaster">
      <pc:chgData name="Camila Valbuena" userId="96dddc91-0310-4901-8518-e86c705ebbd6" providerId="ADAL" clId="{289F64AF-0AA4-47A6-8069-0B1D64FC8B4F}" dt="2024-07-09T00:38:11.771" v="6092" actId="20577"/>
      <pc:docMkLst>
        <pc:docMk/>
      </pc:docMkLst>
      <pc:sldChg chg="del">
        <pc:chgData name="Camila Valbuena" userId="96dddc91-0310-4901-8518-e86c705ebbd6" providerId="ADAL" clId="{289F64AF-0AA4-47A6-8069-0B1D64FC8B4F}" dt="2024-07-08T19:27:10.267" v="0" actId="47"/>
        <pc:sldMkLst>
          <pc:docMk/>
          <pc:sldMk cId="2406273178" sldId="256"/>
        </pc:sldMkLst>
      </pc:sldChg>
      <pc:sldChg chg="addSp delSp modSp mod">
        <pc:chgData name="Camila Valbuena" userId="96dddc91-0310-4901-8518-e86c705ebbd6" providerId="ADAL" clId="{289F64AF-0AA4-47A6-8069-0B1D64FC8B4F}" dt="2024-07-09T00:34:47.440" v="6089" actId="20577"/>
        <pc:sldMkLst>
          <pc:docMk/>
          <pc:sldMk cId="1702435450" sldId="257"/>
        </pc:sldMkLst>
        <pc:spChg chg="mod">
          <ac:chgData name="Camila Valbuena" userId="96dddc91-0310-4901-8518-e86c705ebbd6" providerId="ADAL" clId="{289F64AF-0AA4-47A6-8069-0B1D64FC8B4F}" dt="2024-07-08T19:29:15.937" v="19" actId="20577"/>
          <ac:spMkLst>
            <pc:docMk/>
            <pc:sldMk cId="1702435450" sldId="257"/>
            <ac:spMk id="2" creationId="{5ADCD0F0-55FB-6385-55F5-2216D4AF6016}"/>
          </ac:spMkLst>
        </pc:spChg>
        <pc:spChg chg="mod">
          <ac:chgData name="Camila Valbuena" userId="96dddc91-0310-4901-8518-e86c705ebbd6" providerId="ADAL" clId="{289F64AF-0AA4-47A6-8069-0B1D64FC8B4F}" dt="2024-07-08T19:29:11.129" v="14" actId="20577"/>
          <ac:spMkLst>
            <pc:docMk/>
            <pc:sldMk cId="1702435450" sldId="257"/>
            <ac:spMk id="3" creationId="{F5DB64F8-C4A5-813C-72BE-D00AECE93775}"/>
          </ac:spMkLst>
        </pc:spChg>
        <pc:spChg chg="add mod">
          <ac:chgData name="Camila Valbuena" userId="96dddc91-0310-4901-8518-e86c705ebbd6" providerId="ADAL" clId="{289F64AF-0AA4-47A6-8069-0B1D64FC8B4F}" dt="2024-07-09T00:34:47.440" v="6089" actId="20577"/>
          <ac:spMkLst>
            <pc:docMk/>
            <pc:sldMk cId="1702435450" sldId="257"/>
            <ac:spMk id="8" creationId="{6ACF5B25-6349-C5F4-C3E8-6D19EA278FA9}"/>
          </ac:spMkLst>
        </pc:spChg>
        <pc:picChg chg="add del mod">
          <ac:chgData name="Camila Valbuena" userId="96dddc91-0310-4901-8518-e86c705ebbd6" providerId="ADAL" clId="{289F64AF-0AA4-47A6-8069-0B1D64FC8B4F}" dt="2024-07-08T21:13:21.059" v="2271" actId="478"/>
          <ac:picMkLst>
            <pc:docMk/>
            <pc:sldMk cId="1702435450" sldId="257"/>
            <ac:picMk id="5" creationId="{98A04963-EBD4-51C6-5F23-9603825BA28E}"/>
          </ac:picMkLst>
        </pc:picChg>
        <pc:picChg chg="del">
          <ac:chgData name="Camila Valbuena" userId="96dddc91-0310-4901-8518-e86c705ebbd6" providerId="ADAL" clId="{289F64AF-0AA4-47A6-8069-0B1D64FC8B4F}" dt="2024-07-08T19:28:26.376" v="1" actId="478"/>
          <ac:picMkLst>
            <pc:docMk/>
            <pc:sldMk cId="1702435450" sldId="257"/>
            <ac:picMk id="6" creationId="{1F5F1F0C-87AC-258C-F326-8D3F20B678ED}"/>
          </ac:picMkLst>
        </pc:picChg>
        <pc:picChg chg="add mod">
          <ac:chgData name="Camila Valbuena" userId="96dddc91-0310-4901-8518-e86c705ebbd6" providerId="ADAL" clId="{289F64AF-0AA4-47A6-8069-0B1D64FC8B4F}" dt="2024-07-09T00:11:01.694" v="5626" actId="1076"/>
          <ac:picMkLst>
            <pc:docMk/>
            <pc:sldMk cId="1702435450" sldId="257"/>
            <ac:picMk id="7" creationId="{5631AA62-8E19-A2B7-3F95-073E00E7D268}"/>
          </ac:picMkLst>
        </pc:picChg>
        <pc:picChg chg="add del mod">
          <ac:chgData name="Camila Valbuena" userId="96dddc91-0310-4901-8518-e86c705ebbd6" providerId="ADAL" clId="{289F64AF-0AA4-47A6-8069-0B1D64FC8B4F}" dt="2024-07-09T00:10:56.121" v="5622" actId="478"/>
          <ac:picMkLst>
            <pc:docMk/>
            <pc:sldMk cId="1702435450" sldId="257"/>
            <ac:picMk id="1026" creationId="{ECBD5843-0D25-275F-1523-0AD0777F989F}"/>
          </ac:picMkLst>
        </pc:picChg>
      </pc:sldChg>
      <pc:sldChg chg="addSp modSp">
        <pc:chgData name="Camila Valbuena" userId="96dddc91-0310-4901-8518-e86c705ebbd6" providerId="ADAL" clId="{289F64AF-0AA4-47A6-8069-0B1D64FC8B4F}" dt="2024-07-08T23:18:57.126" v="4762"/>
        <pc:sldMkLst>
          <pc:docMk/>
          <pc:sldMk cId="4178360661" sldId="258"/>
        </pc:sldMkLst>
        <pc:picChg chg="add mod">
          <ac:chgData name="Camila Valbuena" userId="96dddc91-0310-4901-8518-e86c705ebbd6" providerId="ADAL" clId="{289F64AF-0AA4-47A6-8069-0B1D64FC8B4F}" dt="2024-07-08T23:18:57.126" v="4762"/>
          <ac:picMkLst>
            <pc:docMk/>
            <pc:sldMk cId="4178360661" sldId="258"/>
            <ac:picMk id="3" creationId="{49B3A58C-5300-6769-F787-2214A255AE3F}"/>
          </ac:picMkLst>
        </pc:picChg>
      </pc:sldChg>
      <pc:sldChg chg="addSp modSp mod">
        <pc:chgData name="Camila Valbuena" userId="96dddc91-0310-4901-8518-e86c705ebbd6" providerId="ADAL" clId="{289F64AF-0AA4-47A6-8069-0B1D64FC8B4F}" dt="2024-07-08T22:27:35.075" v="3140"/>
        <pc:sldMkLst>
          <pc:docMk/>
          <pc:sldMk cId="0" sldId="283"/>
        </pc:sldMkLst>
        <pc:spChg chg="mod">
          <ac:chgData name="Camila Valbuena" userId="96dddc91-0310-4901-8518-e86c705ebbd6" providerId="ADAL" clId="{289F64AF-0AA4-47A6-8069-0B1D64FC8B4F}" dt="2024-07-08T19:53:56.915" v="479" actId="20577"/>
          <ac:spMkLst>
            <pc:docMk/>
            <pc:sldMk cId="0" sldId="283"/>
            <ac:spMk id="13" creationId="{00000000-0000-0000-0000-000000000000}"/>
          </ac:spMkLst>
        </pc:spChg>
        <pc:spChg chg="mod">
          <ac:chgData name="Camila Valbuena" userId="96dddc91-0310-4901-8518-e86c705ebbd6" providerId="ADAL" clId="{289F64AF-0AA4-47A6-8069-0B1D64FC8B4F}" dt="2024-07-08T19:59:39.144" v="498" actId="20577"/>
          <ac:spMkLst>
            <pc:docMk/>
            <pc:sldMk cId="0" sldId="283"/>
            <ac:spMk id="14" creationId="{00000000-0000-0000-0000-000000000000}"/>
          </ac:spMkLst>
        </pc:spChg>
        <pc:spChg chg="mod">
          <ac:chgData name="Camila Valbuena" userId="96dddc91-0310-4901-8518-e86c705ebbd6" providerId="ADAL" clId="{289F64AF-0AA4-47A6-8069-0B1D64FC8B4F}" dt="2024-07-08T21:00:34.330" v="2094" actId="13926"/>
          <ac:spMkLst>
            <pc:docMk/>
            <pc:sldMk cId="0" sldId="283"/>
            <ac:spMk id="15" creationId="{00000000-0000-0000-0000-000000000000}"/>
          </ac:spMkLst>
        </pc:spChg>
        <pc:spChg chg="mod">
          <ac:chgData name="Camila Valbuena" userId="96dddc91-0310-4901-8518-e86c705ebbd6" providerId="ADAL" clId="{289F64AF-0AA4-47A6-8069-0B1D64FC8B4F}" dt="2024-07-08T22:27:35.075" v="3140"/>
          <ac:spMkLst>
            <pc:docMk/>
            <pc:sldMk cId="0" sldId="283"/>
            <ac:spMk id="16" creationId="{00000000-0000-0000-0000-000000000000}"/>
          </ac:spMkLst>
        </pc:spChg>
        <pc:picChg chg="add mod">
          <ac:chgData name="Camila Valbuena" userId="96dddc91-0310-4901-8518-e86c705ebbd6" providerId="ADAL" clId="{289F64AF-0AA4-47A6-8069-0B1D64FC8B4F}" dt="2024-07-08T19:54:42.751" v="488" actId="1038"/>
          <ac:picMkLst>
            <pc:docMk/>
            <pc:sldMk cId="0" sldId="283"/>
            <ac:picMk id="2050" creationId="{DBCE418B-51E1-DD9D-1C1D-19C248BBD1DD}"/>
          </ac:picMkLst>
        </pc:picChg>
      </pc:sldChg>
      <pc:sldChg chg="addSp modSp">
        <pc:chgData name="Camila Valbuena" userId="96dddc91-0310-4901-8518-e86c705ebbd6" providerId="ADAL" clId="{289F64AF-0AA4-47A6-8069-0B1D64FC8B4F}" dt="2024-07-08T23:18:58.891" v="4763"/>
        <pc:sldMkLst>
          <pc:docMk/>
          <pc:sldMk cId="3133746929" sldId="4177"/>
        </pc:sldMkLst>
        <pc:picChg chg="add mod">
          <ac:chgData name="Camila Valbuena" userId="96dddc91-0310-4901-8518-e86c705ebbd6" providerId="ADAL" clId="{289F64AF-0AA4-47A6-8069-0B1D64FC8B4F}" dt="2024-07-08T23:18:58.891" v="4763"/>
          <ac:picMkLst>
            <pc:docMk/>
            <pc:sldMk cId="3133746929" sldId="4177"/>
            <ac:picMk id="4" creationId="{EBED8046-C322-F3B9-832A-B26EBE8E9D8B}"/>
          </ac:picMkLst>
        </pc:picChg>
      </pc:sldChg>
      <pc:sldChg chg="del">
        <pc:chgData name="Camila Valbuena" userId="96dddc91-0310-4901-8518-e86c705ebbd6" providerId="ADAL" clId="{289F64AF-0AA4-47A6-8069-0B1D64FC8B4F}" dt="2024-07-09T00:04:39.773" v="5594" actId="47"/>
        <pc:sldMkLst>
          <pc:docMk/>
          <pc:sldMk cId="1645493762" sldId="4208"/>
        </pc:sldMkLst>
      </pc:sldChg>
      <pc:sldChg chg="del">
        <pc:chgData name="Camila Valbuena" userId="96dddc91-0310-4901-8518-e86c705ebbd6" providerId="ADAL" clId="{289F64AF-0AA4-47A6-8069-0B1D64FC8B4F}" dt="2024-07-08T22:36:40.512" v="3273" actId="47"/>
        <pc:sldMkLst>
          <pc:docMk/>
          <pc:sldMk cId="3749141872" sldId="2147471173"/>
        </pc:sldMkLst>
      </pc:sldChg>
      <pc:sldChg chg="modSp mod modShow">
        <pc:chgData name="Camila Valbuena" userId="96dddc91-0310-4901-8518-e86c705ebbd6" providerId="ADAL" clId="{289F64AF-0AA4-47A6-8069-0B1D64FC8B4F}" dt="2024-07-08T22:03:15.927" v="2752" actId="729"/>
        <pc:sldMkLst>
          <pc:docMk/>
          <pc:sldMk cId="3706369206" sldId="2147471372"/>
        </pc:sldMkLst>
        <pc:spChg chg="mod">
          <ac:chgData name="Camila Valbuena" userId="96dddc91-0310-4901-8518-e86c705ebbd6" providerId="ADAL" clId="{289F64AF-0AA4-47A6-8069-0B1D64FC8B4F}" dt="2024-07-08T22:00:45.063" v="2732" actId="114"/>
          <ac:spMkLst>
            <pc:docMk/>
            <pc:sldMk cId="3706369206" sldId="2147471372"/>
            <ac:spMk id="4" creationId="{0FCBC994-A87A-D9ED-3281-E0C2D8AD4B18}"/>
          </ac:spMkLst>
        </pc:spChg>
        <pc:spChg chg="mod">
          <ac:chgData name="Camila Valbuena" userId="96dddc91-0310-4901-8518-e86c705ebbd6" providerId="ADAL" clId="{289F64AF-0AA4-47A6-8069-0B1D64FC8B4F}" dt="2024-07-08T21:58:56.293" v="2697" actId="790"/>
          <ac:spMkLst>
            <pc:docMk/>
            <pc:sldMk cId="3706369206" sldId="2147471372"/>
            <ac:spMk id="5" creationId="{4FC72373-E9BC-B360-5A47-5C2E105B7B4D}"/>
          </ac:spMkLst>
        </pc:spChg>
        <pc:spChg chg="mod">
          <ac:chgData name="Camila Valbuena" userId="96dddc91-0310-4901-8518-e86c705ebbd6" providerId="ADAL" clId="{289F64AF-0AA4-47A6-8069-0B1D64FC8B4F}" dt="2024-07-08T22:02:18.378" v="2741"/>
          <ac:spMkLst>
            <pc:docMk/>
            <pc:sldMk cId="3706369206" sldId="2147471372"/>
            <ac:spMk id="6" creationId="{E04EFE16-9DE2-1035-476C-4267347779B8}"/>
          </ac:spMkLst>
        </pc:spChg>
        <pc:spChg chg="mod">
          <ac:chgData name="Camila Valbuena" userId="96dddc91-0310-4901-8518-e86c705ebbd6" providerId="ADAL" clId="{289F64AF-0AA4-47A6-8069-0B1D64FC8B4F}" dt="2024-07-08T21:58:17.682" v="2670"/>
          <ac:spMkLst>
            <pc:docMk/>
            <pc:sldMk cId="3706369206" sldId="2147471372"/>
            <ac:spMk id="8" creationId="{011D434D-A284-1560-17FA-6FAD28B80868}"/>
          </ac:spMkLst>
        </pc:spChg>
        <pc:spChg chg="mod">
          <ac:chgData name="Camila Valbuena" userId="96dddc91-0310-4901-8518-e86c705ebbd6" providerId="ADAL" clId="{289F64AF-0AA4-47A6-8069-0B1D64FC8B4F}" dt="2024-07-08T22:00:12.706" v="2723" actId="790"/>
          <ac:spMkLst>
            <pc:docMk/>
            <pc:sldMk cId="3706369206" sldId="2147471372"/>
            <ac:spMk id="10" creationId="{E6735021-BEC6-77D9-3C8D-FDD02704E93A}"/>
          </ac:spMkLst>
        </pc:spChg>
        <pc:spChg chg="mod">
          <ac:chgData name="Camila Valbuena" userId="96dddc91-0310-4901-8518-e86c705ebbd6" providerId="ADAL" clId="{289F64AF-0AA4-47A6-8069-0B1D64FC8B4F}" dt="2024-07-08T22:00:17.976" v="2724" actId="790"/>
          <ac:spMkLst>
            <pc:docMk/>
            <pc:sldMk cId="3706369206" sldId="2147471372"/>
            <ac:spMk id="12" creationId="{8623488F-3B2C-32EA-3B66-52F09E381076}"/>
          </ac:spMkLst>
        </pc:spChg>
        <pc:spChg chg="mod">
          <ac:chgData name="Camila Valbuena" userId="96dddc91-0310-4901-8518-e86c705ebbd6" providerId="ADAL" clId="{289F64AF-0AA4-47A6-8069-0B1D64FC8B4F}" dt="2024-07-08T22:01:41.945" v="2740" actId="114"/>
          <ac:spMkLst>
            <pc:docMk/>
            <pc:sldMk cId="3706369206" sldId="2147471372"/>
            <ac:spMk id="28" creationId="{C7FD5A65-814F-3FF8-CEC0-F2C0F387A3E9}"/>
          </ac:spMkLst>
        </pc:spChg>
      </pc:sldChg>
      <pc:sldChg chg="addSp delSp modSp mod">
        <pc:chgData name="Camila Valbuena" userId="96dddc91-0310-4901-8518-e86c705ebbd6" providerId="ADAL" clId="{289F64AF-0AA4-47A6-8069-0B1D64FC8B4F}" dt="2024-07-08T23:27:52.807" v="4871" actId="1036"/>
        <pc:sldMkLst>
          <pc:docMk/>
          <pc:sldMk cId="38418512" sldId="2147475225"/>
        </pc:sldMkLst>
        <pc:spChg chg="mod">
          <ac:chgData name="Camila Valbuena" userId="96dddc91-0310-4901-8518-e86c705ebbd6" providerId="ADAL" clId="{289F64AF-0AA4-47A6-8069-0B1D64FC8B4F}" dt="2024-07-08T23:27:52.807" v="4871" actId="1036"/>
          <ac:spMkLst>
            <pc:docMk/>
            <pc:sldMk cId="38418512" sldId="2147475225"/>
            <ac:spMk id="5" creationId="{BF63626E-760F-FD21-4E0B-8682E959528C}"/>
          </ac:spMkLst>
        </pc:spChg>
        <pc:spChg chg="mod">
          <ac:chgData name="Camila Valbuena" userId="96dddc91-0310-4901-8518-e86c705ebbd6" providerId="ADAL" clId="{289F64AF-0AA4-47A6-8069-0B1D64FC8B4F}" dt="2024-07-08T23:25:13.862" v="4788" actId="5793"/>
          <ac:spMkLst>
            <pc:docMk/>
            <pc:sldMk cId="38418512" sldId="2147475225"/>
            <ac:spMk id="12" creationId="{F0AE4DC1-3BF2-6979-2952-E021BB352DA3}"/>
          </ac:spMkLst>
        </pc:spChg>
        <pc:spChg chg="mod">
          <ac:chgData name="Camila Valbuena" userId="96dddc91-0310-4901-8518-e86c705ebbd6" providerId="ADAL" clId="{289F64AF-0AA4-47A6-8069-0B1D64FC8B4F}" dt="2024-07-08T23:25:42.484" v="4803" actId="1076"/>
          <ac:spMkLst>
            <pc:docMk/>
            <pc:sldMk cId="38418512" sldId="2147475225"/>
            <ac:spMk id="16" creationId="{F7F0E1E4-1582-349D-A6CE-8BBA7939169E}"/>
          </ac:spMkLst>
        </pc:spChg>
        <pc:spChg chg="mod">
          <ac:chgData name="Camila Valbuena" userId="96dddc91-0310-4901-8518-e86c705ebbd6" providerId="ADAL" clId="{289F64AF-0AA4-47A6-8069-0B1D64FC8B4F}" dt="2024-07-08T23:27:52.807" v="4871" actId="1036"/>
          <ac:spMkLst>
            <pc:docMk/>
            <pc:sldMk cId="38418512" sldId="2147475225"/>
            <ac:spMk id="17" creationId="{F908A79F-06BF-BEA3-13F2-5C9F00F97F11}"/>
          </ac:spMkLst>
        </pc:spChg>
        <pc:spChg chg="mod">
          <ac:chgData name="Camila Valbuena" userId="96dddc91-0310-4901-8518-e86c705ebbd6" providerId="ADAL" clId="{289F64AF-0AA4-47A6-8069-0B1D64FC8B4F}" dt="2024-07-08T23:26:25.277" v="4840" actId="20577"/>
          <ac:spMkLst>
            <pc:docMk/>
            <pc:sldMk cId="38418512" sldId="2147475225"/>
            <ac:spMk id="18" creationId="{99EF0C18-9E5C-2C4B-B340-9447A5DA7AB1}"/>
          </ac:spMkLst>
        </pc:spChg>
        <pc:spChg chg="mod">
          <ac:chgData name="Camila Valbuena" userId="96dddc91-0310-4901-8518-e86c705ebbd6" providerId="ADAL" clId="{289F64AF-0AA4-47A6-8069-0B1D64FC8B4F}" dt="2024-07-08T23:26:19.351" v="4838" actId="790"/>
          <ac:spMkLst>
            <pc:docMk/>
            <pc:sldMk cId="38418512" sldId="2147475225"/>
            <ac:spMk id="32" creationId="{0C201B35-BE25-74E4-9F5D-693AA05744F7}"/>
          </ac:spMkLst>
        </pc:spChg>
        <pc:spChg chg="add mod">
          <ac:chgData name="Camila Valbuena" userId="96dddc91-0310-4901-8518-e86c705ebbd6" providerId="ADAL" clId="{289F64AF-0AA4-47A6-8069-0B1D64FC8B4F}" dt="2024-07-08T23:27:30.171" v="4850" actId="1076"/>
          <ac:spMkLst>
            <pc:docMk/>
            <pc:sldMk cId="38418512" sldId="2147475225"/>
            <ac:spMk id="33" creationId="{EA7D0FA2-F3C9-C6F7-A1F5-E798950A5358}"/>
          </ac:spMkLst>
        </pc:spChg>
        <pc:spChg chg="mod">
          <ac:chgData name="Camila Valbuena" userId="96dddc91-0310-4901-8518-e86c705ebbd6" providerId="ADAL" clId="{289F64AF-0AA4-47A6-8069-0B1D64FC8B4F}" dt="2024-07-08T23:27:03.197" v="4845" actId="1076"/>
          <ac:spMkLst>
            <pc:docMk/>
            <pc:sldMk cId="38418512" sldId="2147475225"/>
            <ac:spMk id="34" creationId="{A7FC88CD-1F7E-ACAC-C3A0-9A824C13DFAD}"/>
          </ac:spMkLst>
        </pc:spChg>
        <pc:spChg chg="mod">
          <ac:chgData name="Camila Valbuena" userId="96dddc91-0310-4901-8518-e86c705ebbd6" providerId="ADAL" clId="{289F64AF-0AA4-47A6-8069-0B1D64FC8B4F}" dt="2024-07-08T23:25:18.974" v="4793" actId="20577"/>
          <ac:spMkLst>
            <pc:docMk/>
            <pc:sldMk cId="38418512" sldId="2147475225"/>
            <ac:spMk id="37" creationId="{B2C6E35B-0EB4-DD9A-E5C1-E4D9874154C4}"/>
          </ac:spMkLst>
        </pc:spChg>
        <pc:spChg chg="mod">
          <ac:chgData name="Camila Valbuena" userId="96dddc91-0310-4901-8518-e86c705ebbd6" providerId="ADAL" clId="{289F64AF-0AA4-47A6-8069-0B1D64FC8B4F}" dt="2024-07-08T23:26:40.334" v="4844" actId="1076"/>
          <ac:spMkLst>
            <pc:docMk/>
            <pc:sldMk cId="38418512" sldId="2147475225"/>
            <ac:spMk id="38" creationId="{7537C1F2-EE06-FC1D-F1FA-F38082EA05AD}"/>
          </ac:spMkLst>
        </pc:spChg>
        <pc:picChg chg="del">
          <ac:chgData name="Camila Valbuena" userId="96dddc91-0310-4901-8518-e86c705ebbd6" providerId="ADAL" clId="{289F64AF-0AA4-47A6-8069-0B1D64FC8B4F}" dt="2024-07-08T23:25:25.929" v="4794" actId="478"/>
          <ac:picMkLst>
            <pc:docMk/>
            <pc:sldMk cId="38418512" sldId="2147475225"/>
            <ac:picMk id="3" creationId="{AFACBDEC-C1A1-3400-68B5-B4C159CF8020}"/>
          </ac:picMkLst>
        </pc:picChg>
        <pc:picChg chg="add mod">
          <ac:chgData name="Camila Valbuena" userId="96dddc91-0310-4901-8518-e86c705ebbd6" providerId="ADAL" clId="{289F64AF-0AA4-47A6-8069-0B1D64FC8B4F}" dt="2024-07-08T23:25:00.768" v="4780"/>
          <ac:picMkLst>
            <pc:docMk/>
            <pc:sldMk cId="38418512" sldId="2147475225"/>
            <ac:picMk id="13" creationId="{D76FABA3-4ADD-71FE-8D81-32AF01D7A83E}"/>
          </ac:picMkLst>
        </pc:picChg>
        <pc:picChg chg="del">
          <ac:chgData name="Camila Valbuena" userId="96dddc91-0310-4901-8518-e86c705ebbd6" providerId="ADAL" clId="{289F64AF-0AA4-47A6-8069-0B1D64FC8B4F}" dt="2024-07-08T23:22:59.073" v="4770" actId="478"/>
          <ac:picMkLst>
            <pc:docMk/>
            <pc:sldMk cId="38418512" sldId="2147475225"/>
            <ac:picMk id="15" creationId="{08C8CAC1-41B6-973F-418A-9C2C650AC333}"/>
          </ac:picMkLst>
        </pc:picChg>
        <pc:picChg chg="del">
          <ac:chgData name="Camila Valbuena" userId="96dddc91-0310-4901-8518-e86c705ebbd6" providerId="ADAL" clId="{289F64AF-0AA4-47A6-8069-0B1D64FC8B4F}" dt="2024-07-08T23:24:55.481" v="4779" actId="478"/>
          <ac:picMkLst>
            <pc:docMk/>
            <pc:sldMk cId="38418512" sldId="2147475225"/>
            <ac:picMk id="19" creationId="{2A3CFFF0-BD48-C17D-8977-176A13B39B14}"/>
          </ac:picMkLst>
        </pc:picChg>
        <pc:picChg chg="del">
          <ac:chgData name="Camila Valbuena" userId="96dddc91-0310-4901-8518-e86c705ebbd6" providerId="ADAL" clId="{289F64AF-0AA4-47A6-8069-0B1D64FC8B4F}" dt="2024-07-08T23:25:28.016" v="4795" actId="478"/>
          <ac:picMkLst>
            <pc:docMk/>
            <pc:sldMk cId="38418512" sldId="2147475225"/>
            <ac:picMk id="20" creationId="{7BFE51C2-BB48-2700-4D22-F0FE1AE84554}"/>
          </ac:picMkLst>
        </pc:picChg>
        <pc:picChg chg="add mod">
          <ac:chgData name="Camila Valbuena" userId="96dddc91-0310-4901-8518-e86c705ebbd6" providerId="ADAL" clId="{289F64AF-0AA4-47A6-8069-0B1D64FC8B4F}" dt="2024-07-08T23:25:09.254" v="4784" actId="1076"/>
          <ac:picMkLst>
            <pc:docMk/>
            <pc:sldMk cId="38418512" sldId="2147475225"/>
            <ac:picMk id="31" creationId="{FA6F8518-F996-036B-D62C-263BA678F0FF}"/>
          </ac:picMkLst>
        </pc:picChg>
        <pc:picChg chg="add mod">
          <ac:chgData name="Camila Valbuena" userId="96dddc91-0310-4901-8518-e86c705ebbd6" providerId="ADAL" clId="{289F64AF-0AA4-47A6-8069-0B1D64FC8B4F}" dt="2024-07-08T23:23:06.602" v="4774" actId="14100"/>
          <ac:picMkLst>
            <pc:docMk/>
            <pc:sldMk cId="38418512" sldId="2147475225"/>
            <ac:picMk id="5122" creationId="{2B4E100E-D3A9-286D-41F4-9233F7840424}"/>
          </ac:picMkLst>
        </pc:picChg>
      </pc:sldChg>
      <pc:sldChg chg="addSp modSp mod">
        <pc:chgData name="Camila Valbuena" userId="96dddc91-0310-4901-8518-e86c705ebbd6" providerId="ADAL" clId="{289F64AF-0AA4-47A6-8069-0B1D64FC8B4F}" dt="2024-07-09T00:38:11.771" v="6092" actId="20577"/>
        <pc:sldMkLst>
          <pc:docMk/>
          <pc:sldMk cId="1946829610" sldId="2147475226"/>
        </pc:sldMkLst>
        <pc:spChg chg="mod">
          <ac:chgData name="Camila Valbuena" userId="96dddc91-0310-4901-8518-e86c705ebbd6" providerId="ADAL" clId="{289F64AF-0AA4-47A6-8069-0B1D64FC8B4F}" dt="2024-07-09T00:00:33.463" v="5505" actId="1035"/>
          <ac:spMkLst>
            <pc:docMk/>
            <pc:sldMk cId="1946829610" sldId="2147475226"/>
            <ac:spMk id="2" creationId="{C80F7134-514C-90D9-0428-D1EC6A70C172}"/>
          </ac:spMkLst>
        </pc:spChg>
        <pc:spChg chg="mod">
          <ac:chgData name="Camila Valbuena" userId="96dddc91-0310-4901-8518-e86c705ebbd6" providerId="ADAL" clId="{289F64AF-0AA4-47A6-8069-0B1D64FC8B4F}" dt="2024-07-09T00:01:01.336" v="5513" actId="1076"/>
          <ac:spMkLst>
            <pc:docMk/>
            <pc:sldMk cId="1946829610" sldId="2147475226"/>
            <ac:spMk id="3" creationId="{3F976C41-F45C-35E0-34B2-28EC8B66F39D}"/>
          </ac:spMkLst>
        </pc:spChg>
        <pc:spChg chg="mod">
          <ac:chgData name="Camila Valbuena" userId="96dddc91-0310-4901-8518-e86c705ebbd6" providerId="ADAL" clId="{289F64AF-0AA4-47A6-8069-0B1D64FC8B4F}" dt="2024-07-08T23:59:39.787" v="5462" actId="1076"/>
          <ac:spMkLst>
            <pc:docMk/>
            <pc:sldMk cId="1946829610" sldId="2147475226"/>
            <ac:spMk id="4" creationId="{01510BB5-E454-D370-4D0A-F1CE8D444D9B}"/>
          </ac:spMkLst>
        </pc:spChg>
        <pc:spChg chg="mod">
          <ac:chgData name="Camila Valbuena" userId="96dddc91-0310-4901-8518-e86c705ebbd6" providerId="ADAL" clId="{289F64AF-0AA4-47A6-8069-0B1D64FC8B4F}" dt="2024-07-09T00:00:03.771" v="5489" actId="1076"/>
          <ac:spMkLst>
            <pc:docMk/>
            <pc:sldMk cId="1946829610" sldId="2147475226"/>
            <ac:spMk id="6" creationId="{0B2EE191-3928-3A45-F951-8A7157A9A41B}"/>
          </ac:spMkLst>
        </pc:spChg>
        <pc:spChg chg="mod">
          <ac:chgData name="Camila Valbuena" userId="96dddc91-0310-4901-8518-e86c705ebbd6" providerId="ADAL" clId="{289F64AF-0AA4-47A6-8069-0B1D64FC8B4F}" dt="2024-07-09T00:37:53.188" v="6090" actId="1076"/>
          <ac:spMkLst>
            <pc:docMk/>
            <pc:sldMk cId="1946829610" sldId="2147475226"/>
            <ac:spMk id="8" creationId="{2B273AD5-F717-8FC7-9864-87994EE0A792}"/>
          </ac:spMkLst>
        </pc:spChg>
        <pc:spChg chg="mod">
          <ac:chgData name="Camila Valbuena" userId="96dddc91-0310-4901-8518-e86c705ebbd6" providerId="ADAL" clId="{289F64AF-0AA4-47A6-8069-0B1D64FC8B4F}" dt="2024-07-09T00:00:33.463" v="5505" actId="1035"/>
          <ac:spMkLst>
            <pc:docMk/>
            <pc:sldMk cId="1946829610" sldId="2147475226"/>
            <ac:spMk id="9" creationId="{EF554522-F18E-A4F9-DA1E-25F6D8168DB5}"/>
          </ac:spMkLst>
        </pc:spChg>
        <pc:spChg chg="mod">
          <ac:chgData name="Camila Valbuena" userId="96dddc91-0310-4901-8518-e86c705ebbd6" providerId="ADAL" clId="{289F64AF-0AA4-47A6-8069-0B1D64FC8B4F}" dt="2024-07-09T00:00:53.725" v="5512" actId="14100"/>
          <ac:spMkLst>
            <pc:docMk/>
            <pc:sldMk cId="1946829610" sldId="2147475226"/>
            <ac:spMk id="11" creationId="{01BB20F4-C792-6F3C-3FFA-633AA6BB5C33}"/>
          </ac:spMkLst>
        </pc:spChg>
        <pc:spChg chg="mod">
          <ac:chgData name="Camila Valbuena" userId="96dddc91-0310-4901-8518-e86c705ebbd6" providerId="ADAL" clId="{289F64AF-0AA4-47A6-8069-0B1D64FC8B4F}" dt="2024-07-09T00:38:11.771" v="6092" actId="20577"/>
          <ac:spMkLst>
            <pc:docMk/>
            <pc:sldMk cId="1946829610" sldId="2147475226"/>
            <ac:spMk id="12" creationId="{96142738-2233-6F2F-FC58-B8AD9B3E2893}"/>
          </ac:spMkLst>
        </pc:spChg>
        <pc:spChg chg="mod">
          <ac:chgData name="Camila Valbuena" userId="96dddc91-0310-4901-8518-e86c705ebbd6" providerId="ADAL" clId="{289F64AF-0AA4-47A6-8069-0B1D64FC8B4F}" dt="2024-07-09T00:00:48.402" v="5510" actId="1076"/>
          <ac:spMkLst>
            <pc:docMk/>
            <pc:sldMk cId="1946829610" sldId="2147475226"/>
            <ac:spMk id="13" creationId="{F339CAA0-54A4-2EF3-513F-A705D9A68DB7}"/>
          </ac:spMkLst>
        </pc:spChg>
        <pc:spChg chg="mod">
          <ac:chgData name="Camila Valbuena" userId="96dddc91-0310-4901-8518-e86c705ebbd6" providerId="ADAL" clId="{289F64AF-0AA4-47A6-8069-0B1D64FC8B4F}" dt="2024-07-09T00:00:11.091" v="5491" actId="552"/>
          <ac:spMkLst>
            <pc:docMk/>
            <pc:sldMk cId="1946829610" sldId="2147475226"/>
            <ac:spMk id="14" creationId="{03EDF10B-AAB1-E998-F0E6-317138202232}"/>
          </ac:spMkLst>
        </pc:spChg>
        <pc:spChg chg="mod">
          <ac:chgData name="Camila Valbuena" userId="96dddc91-0310-4901-8518-e86c705ebbd6" providerId="ADAL" clId="{289F64AF-0AA4-47A6-8069-0B1D64FC8B4F}" dt="2024-07-09T00:00:11.091" v="5491" actId="552"/>
          <ac:spMkLst>
            <pc:docMk/>
            <pc:sldMk cId="1946829610" sldId="2147475226"/>
            <ac:spMk id="16" creationId="{EB62B763-0128-A35A-7891-3E86712C257B}"/>
          </ac:spMkLst>
        </pc:spChg>
        <pc:spChg chg="mod">
          <ac:chgData name="Camila Valbuena" userId="96dddc91-0310-4901-8518-e86c705ebbd6" providerId="ADAL" clId="{289F64AF-0AA4-47A6-8069-0B1D64FC8B4F}" dt="2024-07-09T00:00:33.463" v="5505" actId="1035"/>
          <ac:spMkLst>
            <pc:docMk/>
            <pc:sldMk cId="1946829610" sldId="2147475226"/>
            <ac:spMk id="17" creationId="{1FF9E150-140B-67AB-3A5D-A4AD4C773FCF}"/>
          </ac:spMkLst>
        </pc:spChg>
        <pc:spChg chg="mod">
          <ac:chgData name="Camila Valbuena" userId="96dddc91-0310-4901-8518-e86c705ebbd6" providerId="ADAL" clId="{289F64AF-0AA4-47A6-8069-0B1D64FC8B4F}" dt="2024-07-08T23:59:42.733" v="5463" actId="1076"/>
          <ac:spMkLst>
            <pc:docMk/>
            <pc:sldMk cId="1946829610" sldId="2147475226"/>
            <ac:spMk id="24" creationId="{751161CB-D518-BECC-B8D4-D306FED05B22}"/>
          </ac:spMkLst>
        </pc:spChg>
        <pc:spChg chg="mod">
          <ac:chgData name="Camila Valbuena" userId="96dddc91-0310-4901-8518-e86c705ebbd6" providerId="ADAL" clId="{289F64AF-0AA4-47A6-8069-0B1D64FC8B4F}" dt="2024-07-08T23:59:33.686" v="5461" actId="554"/>
          <ac:spMkLst>
            <pc:docMk/>
            <pc:sldMk cId="1946829610" sldId="2147475226"/>
            <ac:spMk id="25" creationId="{C0A100D2-D478-D73E-DA61-A8B8A5767BA0}"/>
          </ac:spMkLst>
        </pc:spChg>
        <pc:spChg chg="mod">
          <ac:chgData name="Camila Valbuena" userId="96dddc91-0310-4901-8518-e86c705ebbd6" providerId="ADAL" clId="{289F64AF-0AA4-47A6-8069-0B1D64FC8B4F}" dt="2024-07-08T23:59:33.686" v="5461" actId="554"/>
          <ac:spMkLst>
            <pc:docMk/>
            <pc:sldMk cId="1946829610" sldId="2147475226"/>
            <ac:spMk id="28" creationId="{432FC0C1-FE7F-8247-AA7B-3CB596120DC3}"/>
          </ac:spMkLst>
        </pc:spChg>
        <pc:spChg chg="mod">
          <ac:chgData name="Camila Valbuena" userId="96dddc91-0310-4901-8518-e86c705ebbd6" providerId="ADAL" clId="{289F64AF-0AA4-47A6-8069-0B1D64FC8B4F}" dt="2024-07-08T23:59:33.686" v="5461" actId="554"/>
          <ac:spMkLst>
            <pc:docMk/>
            <pc:sldMk cId="1946829610" sldId="2147475226"/>
            <ac:spMk id="29" creationId="{AECED97E-2E63-D19B-A705-90A7FDC9E1CD}"/>
          </ac:spMkLst>
        </pc:spChg>
        <pc:spChg chg="mod">
          <ac:chgData name="Camila Valbuena" userId="96dddc91-0310-4901-8518-e86c705ebbd6" providerId="ADAL" clId="{289F64AF-0AA4-47A6-8069-0B1D64FC8B4F}" dt="2024-07-08T23:57:45.669" v="5375" actId="20577"/>
          <ac:spMkLst>
            <pc:docMk/>
            <pc:sldMk cId="1946829610" sldId="2147475226"/>
            <ac:spMk id="35" creationId="{C40E08FD-3DB7-F117-F7E9-2C57D0A16F64}"/>
          </ac:spMkLst>
        </pc:spChg>
        <pc:spChg chg="mod">
          <ac:chgData name="Camila Valbuena" userId="96dddc91-0310-4901-8518-e86c705ebbd6" providerId="ADAL" clId="{289F64AF-0AA4-47A6-8069-0B1D64FC8B4F}" dt="2024-07-08T23:59:46.169" v="5464" actId="1076"/>
          <ac:spMkLst>
            <pc:docMk/>
            <pc:sldMk cId="1946829610" sldId="2147475226"/>
            <ac:spMk id="39" creationId="{27580519-0720-A62D-1356-89E515997427}"/>
          </ac:spMkLst>
        </pc:spChg>
        <pc:spChg chg="mod">
          <ac:chgData name="Camila Valbuena" userId="96dddc91-0310-4901-8518-e86c705ebbd6" providerId="ADAL" clId="{289F64AF-0AA4-47A6-8069-0B1D64FC8B4F}" dt="2024-07-08T23:57:40.700" v="5373" actId="20577"/>
          <ac:spMkLst>
            <pc:docMk/>
            <pc:sldMk cId="1946829610" sldId="2147475226"/>
            <ac:spMk id="41" creationId="{57B6D087-EC57-9F4D-1405-734A7A8B067E}"/>
          </ac:spMkLst>
        </pc:spChg>
        <pc:picChg chg="mod">
          <ac:chgData name="Camila Valbuena" userId="96dddc91-0310-4901-8518-e86c705ebbd6" providerId="ADAL" clId="{289F64AF-0AA4-47A6-8069-0B1D64FC8B4F}" dt="2024-07-09T00:00:33.463" v="5505" actId="1035"/>
          <ac:picMkLst>
            <pc:docMk/>
            <pc:sldMk cId="1946829610" sldId="2147475226"/>
            <ac:picMk id="5" creationId="{36955BBF-6A9E-8C14-82BF-E9693A5EC647}"/>
          </ac:picMkLst>
        </pc:picChg>
        <pc:picChg chg="add mod">
          <ac:chgData name="Camila Valbuena" userId="96dddc91-0310-4901-8518-e86c705ebbd6" providerId="ADAL" clId="{289F64AF-0AA4-47A6-8069-0B1D64FC8B4F}" dt="2024-07-09T00:33:47.787" v="6088" actId="1036"/>
          <ac:picMkLst>
            <pc:docMk/>
            <pc:sldMk cId="1946829610" sldId="2147475226"/>
            <ac:picMk id="7" creationId="{A3668D62-D5AC-D832-6A7F-1E9C57CC62B6}"/>
          </ac:picMkLst>
        </pc:picChg>
        <pc:picChg chg="mod">
          <ac:chgData name="Camila Valbuena" userId="96dddc91-0310-4901-8518-e86c705ebbd6" providerId="ADAL" clId="{289F64AF-0AA4-47A6-8069-0B1D64FC8B4F}" dt="2024-07-09T00:00:16.025" v="5492" actId="1076"/>
          <ac:picMkLst>
            <pc:docMk/>
            <pc:sldMk cId="1946829610" sldId="2147475226"/>
            <ac:picMk id="34" creationId="{9DB14CA2-7157-2C7B-48EA-AFDB846F790D}"/>
          </ac:picMkLst>
        </pc:picChg>
        <pc:picChg chg="mod">
          <ac:chgData name="Camila Valbuena" userId="96dddc91-0310-4901-8518-e86c705ebbd6" providerId="ADAL" clId="{289F64AF-0AA4-47A6-8069-0B1D64FC8B4F}" dt="2024-07-09T00:00:20.545" v="5495" actId="1076"/>
          <ac:picMkLst>
            <pc:docMk/>
            <pc:sldMk cId="1946829610" sldId="2147475226"/>
            <ac:picMk id="38" creationId="{F3E02096-2557-8CD9-E5A9-084080043324}"/>
          </ac:picMkLst>
        </pc:picChg>
        <pc:cxnChg chg="mod">
          <ac:chgData name="Camila Valbuena" userId="96dddc91-0310-4901-8518-e86c705ebbd6" providerId="ADAL" clId="{289F64AF-0AA4-47A6-8069-0B1D64FC8B4F}" dt="2024-07-09T00:00:33.463" v="5505" actId="1035"/>
          <ac:cxnSpMkLst>
            <pc:docMk/>
            <pc:sldMk cId="1946829610" sldId="2147475226"/>
            <ac:cxnSpMk id="10" creationId="{E93E769F-629D-2339-D7A0-B9999CF309BD}"/>
          </ac:cxnSpMkLst>
        </pc:cxnChg>
        <pc:cxnChg chg="mod">
          <ac:chgData name="Camila Valbuena" userId="96dddc91-0310-4901-8518-e86c705ebbd6" providerId="ADAL" clId="{289F64AF-0AA4-47A6-8069-0B1D64FC8B4F}" dt="2024-07-08T23:59:53.679" v="5482" actId="1035"/>
          <ac:cxnSpMkLst>
            <pc:docMk/>
            <pc:sldMk cId="1946829610" sldId="2147475226"/>
            <ac:cxnSpMk id="23" creationId="{74345C38-0BBF-8D5D-1F09-CC395F06412B}"/>
          </ac:cxnSpMkLst>
        </pc:cxnChg>
        <pc:cxnChg chg="mod">
          <ac:chgData name="Camila Valbuena" userId="96dddc91-0310-4901-8518-e86c705ebbd6" providerId="ADAL" clId="{289F64AF-0AA4-47A6-8069-0B1D64FC8B4F}" dt="2024-07-08T23:59:53.679" v="5482" actId="1035"/>
          <ac:cxnSpMkLst>
            <pc:docMk/>
            <pc:sldMk cId="1946829610" sldId="2147475226"/>
            <ac:cxnSpMk id="30" creationId="{63B293DB-1D1D-B62E-7C51-42B93FE8725E}"/>
          </ac:cxnSpMkLst>
        </pc:cxnChg>
      </pc:sldChg>
      <pc:sldChg chg="addSp modSp">
        <pc:chgData name="Camila Valbuena" userId="96dddc91-0310-4901-8518-e86c705ebbd6" providerId="ADAL" clId="{289F64AF-0AA4-47A6-8069-0B1D64FC8B4F}" dt="2024-07-08T23:19:01.905" v="4764"/>
        <pc:sldMkLst>
          <pc:docMk/>
          <pc:sldMk cId="1460500317" sldId="2147475227"/>
        </pc:sldMkLst>
        <pc:picChg chg="add mod">
          <ac:chgData name="Camila Valbuena" userId="96dddc91-0310-4901-8518-e86c705ebbd6" providerId="ADAL" clId="{289F64AF-0AA4-47A6-8069-0B1D64FC8B4F}" dt="2024-07-08T23:19:01.905" v="4764"/>
          <ac:picMkLst>
            <pc:docMk/>
            <pc:sldMk cId="1460500317" sldId="2147475227"/>
            <ac:picMk id="2" creationId="{5F0A0869-E77D-9131-F517-D27963F8060C}"/>
          </ac:picMkLst>
        </pc:picChg>
      </pc:sldChg>
      <pc:sldChg chg="modSp del mod">
        <pc:chgData name="Camila Valbuena" userId="96dddc91-0310-4901-8518-e86c705ebbd6" providerId="ADAL" clId="{289F64AF-0AA4-47A6-8069-0B1D64FC8B4F}" dt="2024-07-08T22:47:41.373" v="3649" actId="47"/>
        <pc:sldMkLst>
          <pc:docMk/>
          <pc:sldMk cId="2319355203" sldId="2147475229"/>
        </pc:sldMkLst>
        <pc:spChg chg="mod">
          <ac:chgData name="Camila Valbuena" userId="96dddc91-0310-4901-8518-e86c705ebbd6" providerId="ADAL" clId="{289F64AF-0AA4-47A6-8069-0B1D64FC8B4F}" dt="2024-07-08T22:37:33.450" v="3281" actId="14100"/>
          <ac:spMkLst>
            <pc:docMk/>
            <pc:sldMk cId="2319355203" sldId="2147475229"/>
            <ac:spMk id="32" creationId="{2DCC0689-1468-6D28-B348-71C5EB253FBC}"/>
          </ac:spMkLst>
        </pc:spChg>
      </pc:sldChg>
      <pc:sldChg chg="del">
        <pc:chgData name="Camila Valbuena" userId="96dddc91-0310-4901-8518-e86c705ebbd6" providerId="ADAL" clId="{289F64AF-0AA4-47A6-8069-0B1D64FC8B4F}" dt="2024-07-08T22:48:53.859" v="3651" actId="47"/>
        <pc:sldMkLst>
          <pc:docMk/>
          <pc:sldMk cId="3647986328" sldId="2147475230"/>
        </pc:sldMkLst>
      </pc:sldChg>
      <pc:sldChg chg="addSp delSp modSp mod">
        <pc:chgData name="Camila Valbuena" userId="96dddc91-0310-4901-8518-e86c705ebbd6" providerId="ADAL" clId="{289F64AF-0AA4-47A6-8069-0B1D64FC8B4F}" dt="2024-07-09T00:18:34.995" v="5681" actId="20577"/>
        <pc:sldMkLst>
          <pc:docMk/>
          <pc:sldMk cId="463178832" sldId="2147475287"/>
        </pc:sldMkLst>
        <pc:spChg chg="mod">
          <ac:chgData name="Camila Valbuena" userId="96dddc91-0310-4901-8518-e86c705ebbd6" providerId="ADAL" clId="{289F64AF-0AA4-47A6-8069-0B1D64FC8B4F}" dt="2024-07-08T21:46:00.840" v="2662" actId="1076"/>
          <ac:spMkLst>
            <pc:docMk/>
            <pc:sldMk cId="463178832" sldId="2147475287"/>
            <ac:spMk id="6" creationId="{2CFFD8FD-EB57-152E-D910-E685F4F1B8A8}"/>
          </ac:spMkLst>
        </pc:spChg>
        <pc:spChg chg="mod">
          <ac:chgData name="Camila Valbuena" userId="96dddc91-0310-4901-8518-e86c705ebbd6" providerId="ADAL" clId="{289F64AF-0AA4-47A6-8069-0B1D64FC8B4F}" dt="2024-07-08T21:34:28.013" v="2530" actId="20577"/>
          <ac:spMkLst>
            <pc:docMk/>
            <pc:sldMk cId="463178832" sldId="2147475287"/>
            <ac:spMk id="15" creationId="{E1339E3C-BA00-8A1A-87BD-6AAD4EF1995B}"/>
          </ac:spMkLst>
        </pc:spChg>
        <pc:spChg chg="mod">
          <ac:chgData name="Camila Valbuena" userId="96dddc91-0310-4901-8518-e86c705ebbd6" providerId="ADAL" clId="{289F64AF-0AA4-47A6-8069-0B1D64FC8B4F}" dt="2024-07-08T21:25:30.395" v="2443" actId="20577"/>
          <ac:spMkLst>
            <pc:docMk/>
            <pc:sldMk cId="463178832" sldId="2147475287"/>
            <ac:spMk id="193" creationId="{1EE053BD-7733-BC77-6A21-F24185BC521C}"/>
          </ac:spMkLst>
        </pc:spChg>
        <pc:spChg chg="mod">
          <ac:chgData name="Camila Valbuena" userId="96dddc91-0310-4901-8518-e86c705ebbd6" providerId="ADAL" clId="{289F64AF-0AA4-47A6-8069-0B1D64FC8B4F}" dt="2024-07-08T21:45:49.091" v="2658" actId="1076"/>
          <ac:spMkLst>
            <pc:docMk/>
            <pc:sldMk cId="463178832" sldId="2147475287"/>
            <ac:spMk id="195" creationId="{BDA64AEE-7204-6E8E-5A04-E0380B31472E}"/>
          </ac:spMkLst>
        </pc:spChg>
        <pc:spChg chg="mod">
          <ac:chgData name="Camila Valbuena" userId="96dddc91-0310-4901-8518-e86c705ebbd6" providerId="ADAL" clId="{289F64AF-0AA4-47A6-8069-0B1D64FC8B4F}" dt="2024-07-08T22:03:07.638" v="2751"/>
          <ac:spMkLst>
            <pc:docMk/>
            <pc:sldMk cId="463178832" sldId="2147475287"/>
            <ac:spMk id="199" creationId="{B158BF8A-EB5E-D813-1DD2-A48931D7125D}"/>
          </ac:spMkLst>
        </pc:spChg>
        <pc:spChg chg="mod">
          <ac:chgData name="Camila Valbuena" userId="96dddc91-0310-4901-8518-e86c705ebbd6" providerId="ADAL" clId="{289F64AF-0AA4-47A6-8069-0B1D64FC8B4F}" dt="2024-07-09T00:18:34.995" v="5681" actId="20577"/>
          <ac:spMkLst>
            <pc:docMk/>
            <pc:sldMk cId="463178832" sldId="2147475287"/>
            <ac:spMk id="208" creationId="{DA81DA77-AF07-3822-A60C-F2F45DDD23F6}"/>
          </ac:spMkLst>
        </pc:spChg>
        <pc:spChg chg="mod">
          <ac:chgData name="Camila Valbuena" userId="96dddc91-0310-4901-8518-e86c705ebbd6" providerId="ADAL" clId="{289F64AF-0AA4-47A6-8069-0B1D64FC8B4F}" dt="2024-07-08T21:45:46.883" v="2657" actId="1076"/>
          <ac:spMkLst>
            <pc:docMk/>
            <pc:sldMk cId="463178832" sldId="2147475287"/>
            <ac:spMk id="253" creationId="{795E4931-AE54-AEC7-628B-40C432ED2CD7}"/>
          </ac:spMkLst>
        </pc:spChg>
        <pc:spChg chg="mod">
          <ac:chgData name="Camila Valbuena" userId="96dddc91-0310-4901-8518-e86c705ebbd6" providerId="ADAL" clId="{289F64AF-0AA4-47A6-8069-0B1D64FC8B4F}" dt="2024-07-08T21:45:54.492" v="2660" actId="1076"/>
          <ac:spMkLst>
            <pc:docMk/>
            <pc:sldMk cId="463178832" sldId="2147475287"/>
            <ac:spMk id="271" creationId="{6B871234-5775-ECE8-C0FD-6B94BD321F22}"/>
          </ac:spMkLst>
        </pc:spChg>
        <pc:spChg chg="mod">
          <ac:chgData name="Camila Valbuena" userId="96dddc91-0310-4901-8518-e86c705ebbd6" providerId="ADAL" clId="{289F64AF-0AA4-47A6-8069-0B1D64FC8B4F}" dt="2024-07-08T21:45:56.315" v="2661" actId="1076"/>
          <ac:spMkLst>
            <pc:docMk/>
            <pc:sldMk cId="463178832" sldId="2147475287"/>
            <ac:spMk id="275" creationId="{EDB40834-E02C-D6F9-195D-79312765383F}"/>
          </ac:spMkLst>
        </pc:spChg>
        <pc:spChg chg="mod">
          <ac:chgData name="Camila Valbuena" userId="96dddc91-0310-4901-8518-e86c705ebbd6" providerId="ADAL" clId="{289F64AF-0AA4-47A6-8069-0B1D64FC8B4F}" dt="2024-07-08T21:45:43.056" v="2655" actId="1035"/>
          <ac:spMkLst>
            <pc:docMk/>
            <pc:sldMk cId="463178832" sldId="2147475287"/>
            <ac:spMk id="284" creationId="{A454517C-5191-C216-E2E2-1839A0C0D24D}"/>
          </ac:spMkLst>
        </pc:spChg>
        <pc:picChg chg="add mod">
          <ac:chgData name="Camila Valbuena" userId="96dddc91-0310-4901-8518-e86c705ebbd6" providerId="ADAL" clId="{289F64AF-0AA4-47A6-8069-0B1D64FC8B4F}" dt="2024-07-08T22:02:46.903" v="2747" actId="1076"/>
          <ac:picMkLst>
            <pc:docMk/>
            <pc:sldMk cId="463178832" sldId="2147475287"/>
            <ac:picMk id="4" creationId="{829A8D9F-A149-6853-D060-0E947B1BC1E9}"/>
          </ac:picMkLst>
        </pc:picChg>
        <pc:picChg chg="del">
          <ac:chgData name="Camila Valbuena" userId="96dddc91-0310-4901-8518-e86c705ebbd6" providerId="ADAL" clId="{289F64AF-0AA4-47A6-8069-0B1D64FC8B4F}" dt="2024-07-08T21:34:18.932" v="2517" actId="478"/>
          <ac:picMkLst>
            <pc:docMk/>
            <pc:sldMk cId="463178832" sldId="2147475287"/>
            <ac:picMk id="7" creationId="{81BE3EFE-02F7-FE36-B918-8B32FF78C7C2}"/>
          </ac:picMkLst>
        </pc:picChg>
        <pc:picChg chg="add mod">
          <ac:chgData name="Camila Valbuena" userId="96dddc91-0310-4901-8518-e86c705ebbd6" providerId="ADAL" clId="{289F64AF-0AA4-47A6-8069-0B1D64FC8B4F}" dt="2024-07-08T22:02:53.921" v="2750" actId="1076"/>
          <ac:picMkLst>
            <pc:docMk/>
            <pc:sldMk cId="463178832" sldId="2147475287"/>
            <ac:picMk id="8" creationId="{87626C44-09BE-786F-D972-6FD5B6F1298B}"/>
          </ac:picMkLst>
        </pc:picChg>
        <pc:picChg chg="del">
          <ac:chgData name="Camila Valbuena" userId="96dddc91-0310-4901-8518-e86c705ebbd6" providerId="ADAL" clId="{289F64AF-0AA4-47A6-8069-0B1D64FC8B4F}" dt="2024-07-08T21:34:14.664" v="2516" actId="478"/>
          <ac:picMkLst>
            <pc:docMk/>
            <pc:sldMk cId="463178832" sldId="2147475287"/>
            <ac:picMk id="11" creationId="{5A6A519D-460C-B87A-A987-10DBE7FD8ACA}"/>
          </ac:picMkLst>
        </pc:picChg>
        <pc:picChg chg="add del">
          <ac:chgData name="Camila Valbuena" userId="96dddc91-0310-4901-8518-e86c705ebbd6" providerId="ADAL" clId="{289F64AF-0AA4-47A6-8069-0B1D64FC8B4F}" dt="2024-07-08T21:13:58.253" v="2274" actId="478"/>
          <ac:picMkLst>
            <pc:docMk/>
            <pc:sldMk cId="463178832" sldId="2147475287"/>
            <ac:picMk id="17" creationId="{E935E3E9-377F-DC1C-E1B4-1A71B2518B9F}"/>
          </ac:picMkLst>
        </pc:picChg>
        <pc:picChg chg="add del mod">
          <ac:chgData name="Camila Valbuena" userId="96dddc91-0310-4901-8518-e86c705ebbd6" providerId="ADAL" clId="{289F64AF-0AA4-47A6-8069-0B1D64FC8B4F}" dt="2024-07-08T21:51:50.792" v="2667" actId="478"/>
          <ac:picMkLst>
            <pc:docMk/>
            <pc:sldMk cId="463178832" sldId="2147475287"/>
            <ac:picMk id="4098" creationId="{880B2AD0-5CE9-392B-040D-FD84B50D7C0D}"/>
          </ac:picMkLst>
        </pc:picChg>
      </pc:sldChg>
      <pc:sldChg chg="delSp modSp mod">
        <pc:chgData name="Camila Valbuena" userId="96dddc91-0310-4901-8518-e86c705ebbd6" providerId="ADAL" clId="{289F64AF-0AA4-47A6-8069-0B1D64FC8B4F}" dt="2024-07-08T19:33:14.491" v="378" actId="1076"/>
        <pc:sldMkLst>
          <pc:docMk/>
          <pc:sldMk cId="2508561854" sldId="2147475318"/>
        </pc:sldMkLst>
        <pc:spChg chg="mod">
          <ac:chgData name="Camila Valbuena" userId="96dddc91-0310-4901-8518-e86c705ebbd6" providerId="ADAL" clId="{289F64AF-0AA4-47A6-8069-0B1D64FC8B4F}" dt="2024-07-08T19:33:14.491" v="378" actId="1076"/>
          <ac:spMkLst>
            <pc:docMk/>
            <pc:sldMk cId="2508561854" sldId="2147475318"/>
            <ac:spMk id="4" creationId="{57C38481-9E3F-8544-C195-71389E2A5F9F}"/>
          </ac:spMkLst>
        </pc:spChg>
        <pc:spChg chg="del">
          <ac:chgData name="Camila Valbuena" userId="96dddc91-0310-4901-8518-e86c705ebbd6" providerId="ADAL" clId="{289F64AF-0AA4-47A6-8069-0B1D64FC8B4F}" dt="2024-07-08T19:32:43.375" v="369" actId="478"/>
          <ac:spMkLst>
            <pc:docMk/>
            <pc:sldMk cId="2508561854" sldId="2147475318"/>
            <ac:spMk id="8" creationId="{9C255354-E856-9183-FBEB-1A7C9493AAAB}"/>
          </ac:spMkLst>
        </pc:spChg>
      </pc:sldChg>
      <pc:sldChg chg="modSp mod">
        <pc:chgData name="Camila Valbuena" userId="96dddc91-0310-4901-8518-e86c705ebbd6" providerId="ADAL" clId="{289F64AF-0AA4-47A6-8069-0B1D64FC8B4F}" dt="2024-07-08T20:04:04.549" v="510" actId="108"/>
        <pc:sldMkLst>
          <pc:docMk/>
          <pc:sldMk cId="2598255988" sldId="2147475319"/>
        </pc:sldMkLst>
        <pc:spChg chg="mod">
          <ac:chgData name="Camila Valbuena" userId="96dddc91-0310-4901-8518-e86c705ebbd6" providerId="ADAL" clId="{289F64AF-0AA4-47A6-8069-0B1D64FC8B4F}" dt="2024-07-08T20:04:01.130" v="509" actId="108"/>
          <ac:spMkLst>
            <pc:docMk/>
            <pc:sldMk cId="2598255988" sldId="2147475319"/>
            <ac:spMk id="3" creationId="{917EFD4C-E48B-9C02-591A-3C14F07B8CA5}"/>
          </ac:spMkLst>
        </pc:spChg>
        <pc:spChg chg="mod">
          <ac:chgData name="Camila Valbuena" userId="96dddc91-0310-4901-8518-e86c705ebbd6" providerId="ADAL" clId="{289F64AF-0AA4-47A6-8069-0B1D64FC8B4F}" dt="2024-07-08T20:04:04.549" v="510" actId="108"/>
          <ac:spMkLst>
            <pc:docMk/>
            <pc:sldMk cId="2598255988" sldId="2147475319"/>
            <ac:spMk id="5" creationId="{93E2148B-E1E8-A482-ED26-C3F083DD134F}"/>
          </ac:spMkLst>
        </pc:spChg>
      </pc:sldChg>
      <pc:sldChg chg="addSp delSp modSp add mod ord">
        <pc:chgData name="Camila Valbuena" userId="96dddc91-0310-4901-8518-e86c705ebbd6" providerId="ADAL" clId="{289F64AF-0AA4-47A6-8069-0B1D64FC8B4F}" dt="2024-07-08T21:11:22.627" v="2258" actId="1076"/>
        <pc:sldMkLst>
          <pc:docMk/>
          <pc:sldMk cId="4138946172" sldId="2147475320"/>
        </pc:sldMkLst>
        <pc:spChg chg="add mod">
          <ac:chgData name="Camila Valbuena" userId="96dddc91-0310-4901-8518-e86c705ebbd6" providerId="ADAL" clId="{289F64AF-0AA4-47A6-8069-0B1D64FC8B4F}" dt="2024-07-08T21:11:22.627" v="2258" actId="1076"/>
          <ac:spMkLst>
            <pc:docMk/>
            <pc:sldMk cId="4138946172" sldId="2147475320"/>
            <ac:spMk id="2" creationId="{B5BF7F63-9151-B742-F5F2-53AEA5AB27EB}"/>
          </ac:spMkLst>
        </pc:spChg>
        <pc:spChg chg="add del mod">
          <ac:chgData name="Camila Valbuena" userId="96dddc91-0310-4901-8518-e86c705ebbd6" providerId="ADAL" clId="{289F64AF-0AA4-47A6-8069-0B1D64FC8B4F}" dt="2024-07-08T20:20:55.694" v="890" actId="478"/>
          <ac:spMkLst>
            <pc:docMk/>
            <pc:sldMk cId="4138946172" sldId="2147475320"/>
            <ac:spMk id="3" creationId="{9D34585B-40C0-899B-0912-0FBF89342F0D}"/>
          </ac:spMkLst>
        </pc:spChg>
        <pc:spChg chg="add del mod">
          <ac:chgData name="Camila Valbuena" userId="96dddc91-0310-4901-8518-e86c705ebbd6" providerId="ADAL" clId="{289F64AF-0AA4-47A6-8069-0B1D64FC8B4F}" dt="2024-07-08T21:11:22.627" v="2258" actId="1076"/>
          <ac:spMkLst>
            <pc:docMk/>
            <pc:sldMk cId="4138946172" sldId="2147475320"/>
            <ac:spMk id="4" creationId="{EECEE998-BE29-5C82-3181-32A85F2717B7}"/>
          </ac:spMkLst>
        </pc:spChg>
        <pc:spChg chg="add del mod">
          <ac:chgData name="Camila Valbuena" userId="96dddc91-0310-4901-8518-e86c705ebbd6" providerId="ADAL" clId="{289F64AF-0AA4-47A6-8069-0B1D64FC8B4F}" dt="2024-07-08T20:18:50.713" v="852" actId="478"/>
          <ac:spMkLst>
            <pc:docMk/>
            <pc:sldMk cId="4138946172" sldId="2147475320"/>
            <ac:spMk id="6" creationId="{C64ADC6F-4623-4FE8-2952-0D3CEBD06503}"/>
          </ac:spMkLst>
        </pc:spChg>
        <pc:spChg chg="add mod">
          <ac:chgData name="Camila Valbuena" userId="96dddc91-0310-4901-8518-e86c705ebbd6" providerId="ADAL" clId="{289F64AF-0AA4-47A6-8069-0B1D64FC8B4F}" dt="2024-07-08T21:11:22.627" v="2258" actId="1076"/>
          <ac:spMkLst>
            <pc:docMk/>
            <pc:sldMk cId="4138946172" sldId="2147475320"/>
            <ac:spMk id="7" creationId="{FC239926-804D-540A-2015-220B246540D5}"/>
          </ac:spMkLst>
        </pc:spChg>
        <pc:spChg chg="add mod">
          <ac:chgData name="Camila Valbuena" userId="96dddc91-0310-4901-8518-e86c705ebbd6" providerId="ADAL" clId="{289F64AF-0AA4-47A6-8069-0B1D64FC8B4F}" dt="2024-07-08T21:11:22.627" v="2258" actId="1076"/>
          <ac:spMkLst>
            <pc:docMk/>
            <pc:sldMk cId="4138946172" sldId="2147475320"/>
            <ac:spMk id="8" creationId="{8D40EF30-BB20-A5DD-9A2B-EE4E0330DAB1}"/>
          </ac:spMkLst>
        </pc:spChg>
        <pc:spChg chg="add mod">
          <ac:chgData name="Camila Valbuena" userId="96dddc91-0310-4901-8518-e86c705ebbd6" providerId="ADAL" clId="{289F64AF-0AA4-47A6-8069-0B1D64FC8B4F}" dt="2024-07-08T21:11:22.627" v="2258" actId="1076"/>
          <ac:spMkLst>
            <pc:docMk/>
            <pc:sldMk cId="4138946172" sldId="2147475320"/>
            <ac:spMk id="9" creationId="{29D1C70A-B876-567E-2C6E-62C980A064D1}"/>
          </ac:spMkLst>
        </pc:spChg>
        <pc:spChg chg="add del mod">
          <ac:chgData name="Camila Valbuena" userId="96dddc91-0310-4901-8518-e86c705ebbd6" providerId="ADAL" clId="{289F64AF-0AA4-47A6-8069-0B1D64FC8B4F}" dt="2024-07-08T20:31:20.429" v="1125" actId="478"/>
          <ac:spMkLst>
            <pc:docMk/>
            <pc:sldMk cId="4138946172" sldId="2147475320"/>
            <ac:spMk id="10" creationId="{4058EC2D-BFB3-48C9-D66E-FCD74FAEBF44}"/>
          </ac:spMkLst>
        </pc:spChg>
        <pc:spChg chg="add del mod">
          <ac:chgData name="Camila Valbuena" userId="96dddc91-0310-4901-8518-e86c705ebbd6" providerId="ADAL" clId="{289F64AF-0AA4-47A6-8069-0B1D64FC8B4F}" dt="2024-07-08T20:31:39.703" v="1127" actId="478"/>
          <ac:spMkLst>
            <pc:docMk/>
            <pc:sldMk cId="4138946172" sldId="2147475320"/>
            <ac:spMk id="11" creationId="{3FFB8E71-A7AC-4323-31DE-9715AE6101BE}"/>
          </ac:spMkLst>
        </pc:spChg>
        <pc:spChg chg="add mod">
          <ac:chgData name="Camila Valbuena" userId="96dddc91-0310-4901-8518-e86c705ebbd6" providerId="ADAL" clId="{289F64AF-0AA4-47A6-8069-0B1D64FC8B4F}" dt="2024-07-08T21:11:22.627" v="2258" actId="1076"/>
          <ac:spMkLst>
            <pc:docMk/>
            <pc:sldMk cId="4138946172" sldId="2147475320"/>
            <ac:spMk id="12" creationId="{DA055A32-3FF8-64F9-2BF3-6B6B03EED143}"/>
          </ac:spMkLst>
        </pc:spChg>
        <pc:spChg chg="add del">
          <ac:chgData name="Camila Valbuena" userId="96dddc91-0310-4901-8518-e86c705ebbd6" providerId="ADAL" clId="{289F64AF-0AA4-47A6-8069-0B1D64FC8B4F}" dt="2024-07-08T20:11:05.679" v="518" actId="478"/>
          <ac:spMkLst>
            <pc:docMk/>
            <pc:sldMk cId="4138946172" sldId="2147475320"/>
            <ac:spMk id="13" creationId="{00000000-0000-0000-0000-000000000000}"/>
          </ac:spMkLst>
        </pc:spChg>
        <pc:spChg chg="add del">
          <ac:chgData name="Camila Valbuena" userId="96dddc91-0310-4901-8518-e86c705ebbd6" providerId="ADAL" clId="{289F64AF-0AA4-47A6-8069-0B1D64FC8B4F}" dt="2024-07-08T20:11:04.238" v="517" actId="478"/>
          <ac:spMkLst>
            <pc:docMk/>
            <pc:sldMk cId="4138946172" sldId="2147475320"/>
            <ac:spMk id="14" creationId="{00000000-0000-0000-0000-000000000000}"/>
          </ac:spMkLst>
        </pc:spChg>
        <pc:spChg chg="add del">
          <ac:chgData name="Camila Valbuena" userId="96dddc91-0310-4901-8518-e86c705ebbd6" providerId="ADAL" clId="{289F64AF-0AA4-47A6-8069-0B1D64FC8B4F}" dt="2024-07-08T20:11:04.238" v="517" actId="478"/>
          <ac:spMkLst>
            <pc:docMk/>
            <pc:sldMk cId="4138946172" sldId="2147475320"/>
            <ac:spMk id="15" creationId="{00000000-0000-0000-0000-000000000000}"/>
          </ac:spMkLst>
        </pc:spChg>
        <pc:spChg chg="add del">
          <ac:chgData name="Camila Valbuena" userId="96dddc91-0310-4901-8518-e86c705ebbd6" providerId="ADAL" clId="{289F64AF-0AA4-47A6-8069-0B1D64FC8B4F}" dt="2024-07-08T20:11:04.238" v="517" actId="478"/>
          <ac:spMkLst>
            <pc:docMk/>
            <pc:sldMk cId="4138946172" sldId="2147475320"/>
            <ac:spMk id="16" creationId="{00000000-0000-0000-0000-000000000000}"/>
          </ac:spMkLst>
        </pc:spChg>
        <pc:spChg chg="add del mod">
          <ac:chgData name="Camila Valbuena" userId="96dddc91-0310-4901-8518-e86c705ebbd6" providerId="ADAL" clId="{289F64AF-0AA4-47A6-8069-0B1D64FC8B4F}" dt="2024-07-08T20:31:39.703" v="1127" actId="478"/>
          <ac:spMkLst>
            <pc:docMk/>
            <pc:sldMk cId="4138946172" sldId="2147475320"/>
            <ac:spMk id="17" creationId="{0807C408-7ABB-A2B9-D7FD-77EDA25A8918}"/>
          </ac:spMkLst>
        </pc:spChg>
        <pc:spChg chg="add del">
          <ac:chgData name="Camila Valbuena" userId="96dddc91-0310-4901-8518-e86c705ebbd6" providerId="ADAL" clId="{289F64AF-0AA4-47A6-8069-0B1D64FC8B4F}" dt="2024-07-08T20:11:04.238" v="517" actId="478"/>
          <ac:spMkLst>
            <pc:docMk/>
            <pc:sldMk cId="4138946172" sldId="2147475320"/>
            <ac:spMk id="18" creationId="{00000000-0000-0000-0000-000000000000}"/>
          </ac:spMkLst>
        </pc:spChg>
        <pc:spChg chg="add del">
          <ac:chgData name="Camila Valbuena" userId="96dddc91-0310-4901-8518-e86c705ebbd6" providerId="ADAL" clId="{289F64AF-0AA4-47A6-8069-0B1D64FC8B4F}" dt="2024-07-08T20:11:04.238" v="517" actId="478"/>
          <ac:spMkLst>
            <pc:docMk/>
            <pc:sldMk cId="4138946172" sldId="2147475320"/>
            <ac:spMk id="19" creationId="{00000000-0000-0000-0000-000000000000}"/>
          </ac:spMkLst>
        </pc:spChg>
        <pc:spChg chg="add del">
          <ac:chgData name="Camila Valbuena" userId="96dddc91-0310-4901-8518-e86c705ebbd6" providerId="ADAL" clId="{289F64AF-0AA4-47A6-8069-0B1D64FC8B4F}" dt="2024-07-08T20:11:04.238" v="517" actId="478"/>
          <ac:spMkLst>
            <pc:docMk/>
            <pc:sldMk cId="4138946172" sldId="2147475320"/>
            <ac:spMk id="20" creationId="{00000000-0000-0000-0000-000000000000}"/>
          </ac:spMkLst>
        </pc:spChg>
        <pc:spChg chg="add del">
          <ac:chgData name="Camila Valbuena" userId="96dddc91-0310-4901-8518-e86c705ebbd6" providerId="ADAL" clId="{289F64AF-0AA4-47A6-8069-0B1D64FC8B4F}" dt="2024-07-08T20:11:04.238" v="517" actId="478"/>
          <ac:spMkLst>
            <pc:docMk/>
            <pc:sldMk cId="4138946172" sldId="2147475320"/>
            <ac:spMk id="21" creationId="{00000000-0000-0000-0000-000000000000}"/>
          </ac:spMkLst>
        </pc:spChg>
        <pc:spChg chg="add mod">
          <ac:chgData name="Camila Valbuena" userId="96dddc91-0310-4901-8518-e86c705ebbd6" providerId="ADAL" clId="{289F64AF-0AA4-47A6-8069-0B1D64FC8B4F}" dt="2024-07-08T21:11:22.627" v="2258" actId="1076"/>
          <ac:spMkLst>
            <pc:docMk/>
            <pc:sldMk cId="4138946172" sldId="2147475320"/>
            <ac:spMk id="22" creationId="{502BCC47-4A27-EF8F-94A4-FC2C6AA596A4}"/>
          </ac:spMkLst>
        </pc:spChg>
        <pc:spChg chg="add mod">
          <ac:chgData name="Camila Valbuena" userId="96dddc91-0310-4901-8518-e86c705ebbd6" providerId="ADAL" clId="{289F64AF-0AA4-47A6-8069-0B1D64FC8B4F}" dt="2024-07-08T21:11:22.627" v="2258" actId="1076"/>
          <ac:spMkLst>
            <pc:docMk/>
            <pc:sldMk cId="4138946172" sldId="2147475320"/>
            <ac:spMk id="23" creationId="{594335AA-3DF7-CF8E-2A35-0142895CC036}"/>
          </ac:spMkLst>
        </pc:spChg>
        <pc:spChg chg="add mod">
          <ac:chgData name="Camila Valbuena" userId="96dddc91-0310-4901-8518-e86c705ebbd6" providerId="ADAL" clId="{289F64AF-0AA4-47A6-8069-0B1D64FC8B4F}" dt="2024-07-08T21:11:22.627" v="2258" actId="1076"/>
          <ac:spMkLst>
            <pc:docMk/>
            <pc:sldMk cId="4138946172" sldId="2147475320"/>
            <ac:spMk id="24" creationId="{75C32E1D-096F-C14E-7789-0F7B44956912}"/>
          </ac:spMkLst>
        </pc:spChg>
        <pc:spChg chg="add mod">
          <ac:chgData name="Camila Valbuena" userId="96dddc91-0310-4901-8518-e86c705ebbd6" providerId="ADAL" clId="{289F64AF-0AA4-47A6-8069-0B1D64FC8B4F}" dt="2024-07-08T21:11:22.627" v="2258" actId="1076"/>
          <ac:spMkLst>
            <pc:docMk/>
            <pc:sldMk cId="4138946172" sldId="2147475320"/>
            <ac:spMk id="26" creationId="{5D2455F6-66AA-E41C-58FA-1830342EB00C}"/>
          </ac:spMkLst>
        </pc:spChg>
        <pc:spChg chg="add mod">
          <ac:chgData name="Camila Valbuena" userId="96dddc91-0310-4901-8518-e86c705ebbd6" providerId="ADAL" clId="{289F64AF-0AA4-47A6-8069-0B1D64FC8B4F}" dt="2024-07-08T21:11:22.627" v="2258" actId="1076"/>
          <ac:spMkLst>
            <pc:docMk/>
            <pc:sldMk cId="4138946172" sldId="2147475320"/>
            <ac:spMk id="28" creationId="{9BA59F76-EE84-F435-C266-1723B73BB617}"/>
          </ac:spMkLst>
        </pc:spChg>
        <pc:spChg chg="add mod">
          <ac:chgData name="Camila Valbuena" userId="96dddc91-0310-4901-8518-e86c705ebbd6" providerId="ADAL" clId="{289F64AF-0AA4-47A6-8069-0B1D64FC8B4F}" dt="2024-07-08T20:12:08.845" v="618"/>
          <ac:spMkLst>
            <pc:docMk/>
            <pc:sldMk cId="4138946172" sldId="2147475320"/>
            <ac:spMk id="30" creationId="{8E0BC751-D245-B296-3273-1FCA0A0A7514}"/>
          </ac:spMkLst>
        </pc:spChg>
        <pc:spChg chg="add mod">
          <ac:chgData name="Camila Valbuena" userId="96dddc91-0310-4901-8518-e86c705ebbd6" providerId="ADAL" clId="{289F64AF-0AA4-47A6-8069-0B1D64FC8B4F}" dt="2024-07-08T20:12:08.845" v="618"/>
          <ac:spMkLst>
            <pc:docMk/>
            <pc:sldMk cId="4138946172" sldId="2147475320"/>
            <ac:spMk id="31" creationId="{F47FAB1E-42FE-E060-7875-345601ABB23C}"/>
          </ac:spMkLst>
        </pc:spChg>
        <pc:spChg chg="add mod">
          <ac:chgData name="Camila Valbuena" userId="96dddc91-0310-4901-8518-e86c705ebbd6" providerId="ADAL" clId="{289F64AF-0AA4-47A6-8069-0B1D64FC8B4F}" dt="2024-07-08T20:12:08.845" v="618"/>
          <ac:spMkLst>
            <pc:docMk/>
            <pc:sldMk cId="4138946172" sldId="2147475320"/>
            <ac:spMk id="32" creationId="{DCE9EC33-1A9E-2D08-BFCC-4E3A40CF941E}"/>
          </ac:spMkLst>
        </pc:spChg>
        <pc:spChg chg="add mod">
          <ac:chgData name="Camila Valbuena" userId="96dddc91-0310-4901-8518-e86c705ebbd6" providerId="ADAL" clId="{289F64AF-0AA4-47A6-8069-0B1D64FC8B4F}" dt="2024-07-08T20:12:08.845" v="618"/>
          <ac:spMkLst>
            <pc:docMk/>
            <pc:sldMk cId="4138946172" sldId="2147475320"/>
            <ac:spMk id="33" creationId="{EB43B57F-A164-7991-6EA8-BA16A3042147}"/>
          </ac:spMkLst>
        </pc:spChg>
        <pc:spChg chg="add mod">
          <ac:chgData name="Camila Valbuena" userId="96dddc91-0310-4901-8518-e86c705ebbd6" providerId="ADAL" clId="{289F64AF-0AA4-47A6-8069-0B1D64FC8B4F}" dt="2024-07-08T20:12:08.845" v="618"/>
          <ac:spMkLst>
            <pc:docMk/>
            <pc:sldMk cId="4138946172" sldId="2147475320"/>
            <ac:spMk id="34" creationId="{11E5BF2B-0833-8D1F-B77F-9EFA0BDE1E0C}"/>
          </ac:spMkLst>
        </pc:spChg>
        <pc:spChg chg="add mod">
          <ac:chgData name="Camila Valbuena" userId="96dddc91-0310-4901-8518-e86c705ebbd6" providerId="ADAL" clId="{289F64AF-0AA4-47A6-8069-0B1D64FC8B4F}" dt="2024-07-08T20:12:08.845" v="618"/>
          <ac:spMkLst>
            <pc:docMk/>
            <pc:sldMk cId="4138946172" sldId="2147475320"/>
            <ac:spMk id="35" creationId="{0F977CDD-587E-3D4A-1CCF-588A955976C6}"/>
          </ac:spMkLst>
        </pc:spChg>
        <pc:spChg chg="add mod">
          <ac:chgData name="Camila Valbuena" userId="96dddc91-0310-4901-8518-e86c705ebbd6" providerId="ADAL" clId="{289F64AF-0AA4-47A6-8069-0B1D64FC8B4F}" dt="2024-07-08T20:12:08.845" v="618"/>
          <ac:spMkLst>
            <pc:docMk/>
            <pc:sldMk cId="4138946172" sldId="2147475320"/>
            <ac:spMk id="36" creationId="{8141C2EE-E17D-52A4-66CB-78827DECF9F2}"/>
          </ac:spMkLst>
        </pc:spChg>
        <pc:spChg chg="add mod">
          <ac:chgData name="Camila Valbuena" userId="96dddc91-0310-4901-8518-e86c705ebbd6" providerId="ADAL" clId="{289F64AF-0AA4-47A6-8069-0B1D64FC8B4F}" dt="2024-07-08T20:12:08.845" v="618"/>
          <ac:spMkLst>
            <pc:docMk/>
            <pc:sldMk cId="4138946172" sldId="2147475320"/>
            <ac:spMk id="37" creationId="{493BB8EA-AE47-69D6-944B-A6E534446376}"/>
          </ac:spMkLst>
        </pc:spChg>
        <pc:spChg chg="add mod">
          <ac:chgData name="Camila Valbuena" userId="96dddc91-0310-4901-8518-e86c705ebbd6" providerId="ADAL" clId="{289F64AF-0AA4-47A6-8069-0B1D64FC8B4F}" dt="2024-07-08T20:12:08.845" v="618"/>
          <ac:spMkLst>
            <pc:docMk/>
            <pc:sldMk cId="4138946172" sldId="2147475320"/>
            <ac:spMk id="38" creationId="{8A49B634-C682-BE29-FDC7-EAA60D9E6865}"/>
          </ac:spMkLst>
        </pc:spChg>
        <pc:spChg chg="add mod">
          <ac:chgData name="Camila Valbuena" userId="96dddc91-0310-4901-8518-e86c705ebbd6" providerId="ADAL" clId="{289F64AF-0AA4-47A6-8069-0B1D64FC8B4F}" dt="2024-07-08T20:12:08.845" v="618"/>
          <ac:spMkLst>
            <pc:docMk/>
            <pc:sldMk cId="4138946172" sldId="2147475320"/>
            <ac:spMk id="39" creationId="{881BC17D-D939-7DA8-835E-65F095585B20}"/>
          </ac:spMkLst>
        </pc:spChg>
        <pc:spChg chg="add mod">
          <ac:chgData name="Camila Valbuena" userId="96dddc91-0310-4901-8518-e86c705ebbd6" providerId="ADAL" clId="{289F64AF-0AA4-47A6-8069-0B1D64FC8B4F}" dt="2024-07-08T20:12:08.845" v="618"/>
          <ac:spMkLst>
            <pc:docMk/>
            <pc:sldMk cId="4138946172" sldId="2147475320"/>
            <ac:spMk id="40" creationId="{AB6CF731-2B79-AC04-638F-DF7625B08072}"/>
          </ac:spMkLst>
        </pc:spChg>
        <pc:spChg chg="add mod">
          <ac:chgData name="Camila Valbuena" userId="96dddc91-0310-4901-8518-e86c705ebbd6" providerId="ADAL" clId="{289F64AF-0AA4-47A6-8069-0B1D64FC8B4F}" dt="2024-07-08T20:12:08.845" v="618"/>
          <ac:spMkLst>
            <pc:docMk/>
            <pc:sldMk cId="4138946172" sldId="2147475320"/>
            <ac:spMk id="41" creationId="{E93FD379-8C33-AA72-1C37-172DB8558434}"/>
          </ac:spMkLst>
        </pc:spChg>
        <pc:spChg chg="add mod">
          <ac:chgData name="Camila Valbuena" userId="96dddc91-0310-4901-8518-e86c705ebbd6" providerId="ADAL" clId="{289F64AF-0AA4-47A6-8069-0B1D64FC8B4F}" dt="2024-07-08T20:12:08.845" v="618"/>
          <ac:spMkLst>
            <pc:docMk/>
            <pc:sldMk cId="4138946172" sldId="2147475320"/>
            <ac:spMk id="42" creationId="{8B194AD7-B311-B022-A605-522C25324763}"/>
          </ac:spMkLst>
        </pc:spChg>
        <pc:spChg chg="add mod">
          <ac:chgData name="Camila Valbuena" userId="96dddc91-0310-4901-8518-e86c705ebbd6" providerId="ADAL" clId="{289F64AF-0AA4-47A6-8069-0B1D64FC8B4F}" dt="2024-07-08T20:12:08.845" v="618"/>
          <ac:spMkLst>
            <pc:docMk/>
            <pc:sldMk cId="4138946172" sldId="2147475320"/>
            <ac:spMk id="43" creationId="{4E846816-132E-89F8-1870-E9F64D1D306B}"/>
          </ac:spMkLst>
        </pc:spChg>
        <pc:spChg chg="add mod">
          <ac:chgData name="Camila Valbuena" userId="96dddc91-0310-4901-8518-e86c705ebbd6" providerId="ADAL" clId="{289F64AF-0AA4-47A6-8069-0B1D64FC8B4F}" dt="2024-07-08T20:12:08.845" v="618"/>
          <ac:spMkLst>
            <pc:docMk/>
            <pc:sldMk cId="4138946172" sldId="2147475320"/>
            <ac:spMk id="45" creationId="{D7FF7F0B-3729-7912-014C-34273B0F4959}"/>
          </ac:spMkLst>
        </pc:spChg>
        <pc:spChg chg="add mod">
          <ac:chgData name="Camila Valbuena" userId="96dddc91-0310-4901-8518-e86c705ebbd6" providerId="ADAL" clId="{289F64AF-0AA4-47A6-8069-0B1D64FC8B4F}" dt="2024-07-08T20:12:08.845" v="618"/>
          <ac:spMkLst>
            <pc:docMk/>
            <pc:sldMk cId="4138946172" sldId="2147475320"/>
            <ac:spMk id="47" creationId="{659DE855-2FB2-E6A8-C6E3-80BEC252CFDE}"/>
          </ac:spMkLst>
        </pc:spChg>
        <pc:spChg chg="add mod">
          <ac:chgData name="Camila Valbuena" userId="96dddc91-0310-4901-8518-e86c705ebbd6" providerId="ADAL" clId="{289F64AF-0AA4-47A6-8069-0B1D64FC8B4F}" dt="2024-07-08T21:02:34.517" v="2144" actId="6549"/>
          <ac:spMkLst>
            <pc:docMk/>
            <pc:sldMk cId="4138946172" sldId="2147475320"/>
            <ac:spMk id="49" creationId="{D7EEAEA9-38B6-355F-4F91-E314DF217F27}"/>
          </ac:spMkLst>
        </pc:spChg>
        <pc:spChg chg="add del mod">
          <ac:chgData name="Camila Valbuena" userId="96dddc91-0310-4901-8518-e86c705ebbd6" providerId="ADAL" clId="{289F64AF-0AA4-47A6-8069-0B1D64FC8B4F}" dt="2024-07-08T20:19:57.742" v="880" actId="478"/>
          <ac:spMkLst>
            <pc:docMk/>
            <pc:sldMk cId="4138946172" sldId="2147475320"/>
            <ac:spMk id="50" creationId="{C59D3FC3-55B0-E031-0DB3-1489FF57F30C}"/>
          </ac:spMkLst>
        </pc:spChg>
        <pc:spChg chg="add mod ord">
          <ac:chgData name="Camila Valbuena" userId="96dddc91-0310-4901-8518-e86c705ebbd6" providerId="ADAL" clId="{289F64AF-0AA4-47A6-8069-0B1D64FC8B4F}" dt="2024-07-08T21:11:22.627" v="2258" actId="1076"/>
          <ac:spMkLst>
            <pc:docMk/>
            <pc:sldMk cId="4138946172" sldId="2147475320"/>
            <ac:spMk id="51" creationId="{7B84341A-1094-A751-C490-35E8D02CE41A}"/>
          </ac:spMkLst>
        </pc:spChg>
        <pc:spChg chg="add mod">
          <ac:chgData name="Camila Valbuena" userId="96dddc91-0310-4901-8518-e86c705ebbd6" providerId="ADAL" clId="{289F64AF-0AA4-47A6-8069-0B1D64FC8B4F}" dt="2024-07-08T21:11:22.627" v="2258" actId="1076"/>
          <ac:spMkLst>
            <pc:docMk/>
            <pc:sldMk cId="4138946172" sldId="2147475320"/>
            <ac:spMk id="52" creationId="{C9515763-40B5-0DBE-B16E-FA0AFD0185B8}"/>
          </ac:spMkLst>
        </pc:spChg>
        <pc:spChg chg="add mod">
          <ac:chgData name="Camila Valbuena" userId="96dddc91-0310-4901-8518-e86c705ebbd6" providerId="ADAL" clId="{289F64AF-0AA4-47A6-8069-0B1D64FC8B4F}" dt="2024-07-08T21:11:22.627" v="2258" actId="1076"/>
          <ac:spMkLst>
            <pc:docMk/>
            <pc:sldMk cId="4138946172" sldId="2147475320"/>
            <ac:spMk id="53" creationId="{4E8CBE4D-5CD5-8567-2535-6C9420743826}"/>
          </ac:spMkLst>
        </pc:spChg>
        <pc:spChg chg="add mod">
          <ac:chgData name="Camila Valbuena" userId="96dddc91-0310-4901-8518-e86c705ebbd6" providerId="ADAL" clId="{289F64AF-0AA4-47A6-8069-0B1D64FC8B4F}" dt="2024-07-08T21:11:22.627" v="2258" actId="1076"/>
          <ac:spMkLst>
            <pc:docMk/>
            <pc:sldMk cId="4138946172" sldId="2147475320"/>
            <ac:spMk id="54" creationId="{45944AC8-71EE-3EE6-B3F7-6480135ADDED}"/>
          </ac:spMkLst>
        </pc:spChg>
        <pc:spChg chg="add mod">
          <ac:chgData name="Camila Valbuena" userId="96dddc91-0310-4901-8518-e86c705ebbd6" providerId="ADAL" clId="{289F64AF-0AA4-47A6-8069-0B1D64FC8B4F}" dt="2024-07-08T21:11:22.627" v="2258" actId="1076"/>
          <ac:spMkLst>
            <pc:docMk/>
            <pc:sldMk cId="4138946172" sldId="2147475320"/>
            <ac:spMk id="56" creationId="{2BE04439-6DC8-B393-86BB-996CD0185072}"/>
          </ac:spMkLst>
        </pc:spChg>
        <pc:spChg chg="add mod">
          <ac:chgData name="Camila Valbuena" userId="96dddc91-0310-4901-8518-e86c705ebbd6" providerId="ADAL" clId="{289F64AF-0AA4-47A6-8069-0B1D64FC8B4F}" dt="2024-07-08T21:11:22.627" v="2258" actId="1076"/>
          <ac:spMkLst>
            <pc:docMk/>
            <pc:sldMk cId="4138946172" sldId="2147475320"/>
            <ac:spMk id="57" creationId="{AC5CBBD5-C656-D280-D8C7-2B2A74CB8D0D}"/>
          </ac:spMkLst>
        </pc:spChg>
        <pc:spChg chg="add">
          <ac:chgData name="Camila Valbuena" userId="96dddc91-0310-4901-8518-e86c705ebbd6" providerId="ADAL" clId="{289F64AF-0AA4-47A6-8069-0B1D64FC8B4F}" dt="2024-07-08T21:01:52.255" v="2126"/>
          <ac:spMkLst>
            <pc:docMk/>
            <pc:sldMk cId="4138946172" sldId="2147475320"/>
            <ac:spMk id="58" creationId="{B0114DF8-C694-79D7-920C-595141E54B2B}"/>
          </ac:spMkLst>
        </pc:spChg>
        <pc:picChg chg="add mod">
          <ac:chgData name="Camila Valbuena" userId="96dddc91-0310-4901-8518-e86c705ebbd6" providerId="ADAL" clId="{289F64AF-0AA4-47A6-8069-0B1D64FC8B4F}" dt="2024-07-08T21:11:22.627" v="2258" actId="1076"/>
          <ac:picMkLst>
            <pc:docMk/>
            <pc:sldMk cId="4138946172" sldId="2147475320"/>
            <ac:picMk id="27" creationId="{845DB089-235E-F9EF-33DE-9AA5425721ED}"/>
          </ac:picMkLst>
        </pc:picChg>
        <pc:picChg chg="add mod">
          <ac:chgData name="Camila Valbuena" userId="96dddc91-0310-4901-8518-e86c705ebbd6" providerId="ADAL" clId="{289F64AF-0AA4-47A6-8069-0B1D64FC8B4F}" dt="2024-07-08T21:11:22.627" v="2258" actId="1076"/>
          <ac:picMkLst>
            <pc:docMk/>
            <pc:sldMk cId="4138946172" sldId="2147475320"/>
            <ac:picMk id="29" creationId="{2540B80D-A6D0-8F8B-39C6-0680F6AC885E}"/>
          </ac:picMkLst>
        </pc:picChg>
        <pc:picChg chg="add mod">
          <ac:chgData name="Camila Valbuena" userId="96dddc91-0310-4901-8518-e86c705ebbd6" providerId="ADAL" clId="{289F64AF-0AA4-47A6-8069-0B1D64FC8B4F}" dt="2024-07-08T20:12:08.845" v="618"/>
          <ac:picMkLst>
            <pc:docMk/>
            <pc:sldMk cId="4138946172" sldId="2147475320"/>
            <ac:picMk id="46" creationId="{C3973D02-B67A-3F98-908B-5C1F3B66441E}"/>
          </ac:picMkLst>
        </pc:picChg>
        <pc:picChg chg="add mod">
          <ac:chgData name="Camila Valbuena" userId="96dddc91-0310-4901-8518-e86c705ebbd6" providerId="ADAL" clId="{289F64AF-0AA4-47A6-8069-0B1D64FC8B4F}" dt="2024-07-08T20:12:08.845" v="618"/>
          <ac:picMkLst>
            <pc:docMk/>
            <pc:sldMk cId="4138946172" sldId="2147475320"/>
            <ac:picMk id="48" creationId="{3995AD5A-47C1-0B34-7492-A1BF3D4125D1}"/>
          </ac:picMkLst>
        </pc:picChg>
        <pc:cxnChg chg="add mod">
          <ac:chgData name="Camila Valbuena" userId="96dddc91-0310-4901-8518-e86c705ebbd6" providerId="ADAL" clId="{289F64AF-0AA4-47A6-8069-0B1D64FC8B4F}" dt="2024-07-08T21:11:22.627" v="2258" actId="1076"/>
          <ac:cxnSpMkLst>
            <pc:docMk/>
            <pc:sldMk cId="4138946172" sldId="2147475320"/>
            <ac:cxnSpMk id="25" creationId="{82D48592-FCD9-86AF-9A4D-98CD5D2927FE}"/>
          </ac:cxnSpMkLst>
        </pc:cxnChg>
        <pc:cxnChg chg="add mod">
          <ac:chgData name="Camila Valbuena" userId="96dddc91-0310-4901-8518-e86c705ebbd6" providerId="ADAL" clId="{289F64AF-0AA4-47A6-8069-0B1D64FC8B4F}" dt="2024-07-08T20:12:08.845" v="618"/>
          <ac:cxnSpMkLst>
            <pc:docMk/>
            <pc:sldMk cId="4138946172" sldId="2147475320"/>
            <ac:cxnSpMk id="44" creationId="{97D02835-4D02-77BF-088E-9514ED444650}"/>
          </ac:cxnSpMkLst>
        </pc:cxnChg>
      </pc:sldChg>
      <pc:sldChg chg="modSp del mod">
        <pc:chgData name="Camila Valbuena" userId="96dddc91-0310-4901-8518-e86c705ebbd6" providerId="ADAL" clId="{289F64AF-0AA4-47A6-8069-0B1D64FC8B4F}" dt="2024-07-08T23:16:38.154" v="4754" actId="47"/>
        <pc:sldMkLst>
          <pc:docMk/>
          <pc:sldMk cId="3427957980" sldId="2147475348"/>
        </pc:sldMkLst>
        <pc:spChg chg="mod">
          <ac:chgData name="Camila Valbuena" userId="96dddc91-0310-4901-8518-e86c705ebbd6" providerId="ADAL" clId="{289F64AF-0AA4-47A6-8069-0B1D64FC8B4F}" dt="2024-07-08T23:09:57.094" v="4438" actId="20577"/>
          <ac:spMkLst>
            <pc:docMk/>
            <pc:sldMk cId="3427957980" sldId="2147475348"/>
            <ac:spMk id="10" creationId="{04A687FE-16AA-33BF-FEF3-7A6E2DEABB95}"/>
          </ac:spMkLst>
        </pc:spChg>
        <pc:spChg chg="mod">
          <ac:chgData name="Camila Valbuena" userId="96dddc91-0310-4901-8518-e86c705ebbd6" providerId="ADAL" clId="{289F64AF-0AA4-47A6-8069-0B1D64FC8B4F}" dt="2024-07-08T23:11:57.474" v="4538" actId="790"/>
          <ac:spMkLst>
            <pc:docMk/>
            <pc:sldMk cId="3427957980" sldId="2147475348"/>
            <ac:spMk id="11" creationId="{6CD69D30-5196-0299-6E9D-A45F6B8C2895}"/>
          </ac:spMkLst>
        </pc:spChg>
        <pc:spChg chg="mod">
          <ac:chgData name="Camila Valbuena" userId="96dddc91-0310-4901-8518-e86c705ebbd6" providerId="ADAL" clId="{289F64AF-0AA4-47A6-8069-0B1D64FC8B4F}" dt="2024-07-08T23:09:52.775" v="4437" actId="790"/>
          <ac:spMkLst>
            <pc:docMk/>
            <pc:sldMk cId="3427957980" sldId="2147475348"/>
            <ac:spMk id="13" creationId="{F6487B98-9EDC-84A1-F731-6152E5F87C2A}"/>
          </ac:spMkLst>
        </pc:spChg>
        <pc:spChg chg="mod">
          <ac:chgData name="Camila Valbuena" userId="96dddc91-0310-4901-8518-e86c705ebbd6" providerId="ADAL" clId="{289F64AF-0AA4-47A6-8069-0B1D64FC8B4F}" dt="2024-07-08T23:13:28.452" v="4631" actId="790"/>
          <ac:spMkLst>
            <pc:docMk/>
            <pc:sldMk cId="3427957980" sldId="2147475348"/>
            <ac:spMk id="14" creationId="{A21F730D-95B6-F537-D60B-9DDB72185056}"/>
          </ac:spMkLst>
        </pc:spChg>
        <pc:spChg chg="mod">
          <ac:chgData name="Camila Valbuena" userId="96dddc91-0310-4901-8518-e86c705ebbd6" providerId="ADAL" clId="{289F64AF-0AA4-47A6-8069-0B1D64FC8B4F}" dt="2024-07-08T23:12:14.862" v="4539" actId="790"/>
          <ac:spMkLst>
            <pc:docMk/>
            <pc:sldMk cId="3427957980" sldId="2147475348"/>
            <ac:spMk id="15" creationId="{FCE1AC17-5D94-7DCD-670A-316E8F1B00AE}"/>
          </ac:spMkLst>
        </pc:spChg>
        <pc:spChg chg="mod">
          <ac:chgData name="Camila Valbuena" userId="96dddc91-0310-4901-8518-e86c705ebbd6" providerId="ADAL" clId="{289F64AF-0AA4-47A6-8069-0B1D64FC8B4F}" dt="2024-07-08T23:10:07.205" v="4440" actId="12"/>
          <ac:spMkLst>
            <pc:docMk/>
            <pc:sldMk cId="3427957980" sldId="2147475348"/>
            <ac:spMk id="18" creationId="{CB1B6777-3A0D-1915-26BB-E6C42414724F}"/>
          </ac:spMkLst>
        </pc:spChg>
        <pc:spChg chg="mod">
          <ac:chgData name="Camila Valbuena" userId="96dddc91-0310-4901-8518-e86c705ebbd6" providerId="ADAL" clId="{289F64AF-0AA4-47A6-8069-0B1D64FC8B4F}" dt="2024-07-08T23:10:38.204" v="4446" actId="108"/>
          <ac:spMkLst>
            <pc:docMk/>
            <pc:sldMk cId="3427957980" sldId="2147475348"/>
            <ac:spMk id="29" creationId="{1548BB02-5960-590B-52A0-A5AADDB00F0C}"/>
          </ac:spMkLst>
        </pc:spChg>
        <pc:spChg chg="mod">
          <ac:chgData name="Camila Valbuena" userId="96dddc91-0310-4901-8518-e86c705ebbd6" providerId="ADAL" clId="{289F64AF-0AA4-47A6-8069-0B1D64FC8B4F}" dt="2024-07-08T23:11:27.362" v="4456" actId="20577"/>
          <ac:spMkLst>
            <pc:docMk/>
            <pc:sldMk cId="3427957980" sldId="2147475348"/>
            <ac:spMk id="30" creationId="{35826D67-F06D-45E5-5B2F-23ADD5879CE4}"/>
          </ac:spMkLst>
        </pc:spChg>
        <pc:spChg chg="mod">
          <ac:chgData name="Camila Valbuena" userId="96dddc91-0310-4901-8518-e86c705ebbd6" providerId="ADAL" clId="{289F64AF-0AA4-47A6-8069-0B1D64FC8B4F}" dt="2024-07-08T23:12:44.885" v="4544" actId="108"/>
          <ac:spMkLst>
            <pc:docMk/>
            <pc:sldMk cId="3427957980" sldId="2147475348"/>
            <ac:spMk id="31" creationId="{9921EA46-B617-F25C-33B2-15E10F169781}"/>
          </ac:spMkLst>
        </pc:spChg>
      </pc:sldChg>
      <pc:sldChg chg="del">
        <pc:chgData name="Camila Valbuena" userId="96dddc91-0310-4901-8518-e86c705ebbd6" providerId="ADAL" clId="{289F64AF-0AA4-47A6-8069-0B1D64FC8B4F}" dt="2024-07-08T22:47:44.820" v="3650" actId="47"/>
        <pc:sldMkLst>
          <pc:docMk/>
          <pc:sldMk cId="298420199" sldId="2147482487"/>
        </pc:sldMkLst>
      </pc:sldChg>
      <pc:sldChg chg="addSp delSp modSp add mod ord modShow">
        <pc:chgData name="Camila Valbuena" userId="96dddc91-0310-4901-8518-e86c705ebbd6" providerId="ADAL" clId="{289F64AF-0AA4-47A6-8069-0B1D64FC8B4F}" dt="2024-07-09T00:19:09.865" v="5682"/>
        <pc:sldMkLst>
          <pc:docMk/>
          <pc:sldMk cId="1481217205" sldId="2147482488"/>
        </pc:sldMkLst>
        <pc:spChg chg="del">
          <ac:chgData name="Camila Valbuena" userId="96dddc91-0310-4901-8518-e86c705ebbd6" providerId="ADAL" clId="{289F64AF-0AA4-47A6-8069-0B1D64FC8B4F}" dt="2024-07-08T21:37:20.222" v="2535" actId="478"/>
          <ac:spMkLst>
            <pc:docMk/>
            <pc:sldMk cId="1481217205" sldId="2147482488"/>
            <ac:spMk id="2" creationId="{B5BF7F63-9151-B742-F5F2-53AEA5AB27EB}"/>
          </ac:spMkLst>
        </pc:spChg>
        <pc:spChg chg="add mod">
          <ac:chgData name="Camila Valbuena" userId="96dddc91-0310-4901-8518-e86c705ebbd6" providerId="ADAL" clId="{289F64AF-0AA4-47A6-8069-0B1D64FC8B4F}" dt="2024-07-08T22:29:47.482" v="3212" actId="1076"/>
          <ac:spMkLst>
            <pc:docMk/>
            <pc:sldMk cId="1481217205" sldId="2147482488"/>
            <ac:spMk id="3" creationId="{0BD7F545-5B5F-CED1-A765-27595D933031}"/>
          </ac:spMkLst>
        </pc:spChg>
        <pc:spChg chg="del">
          <ac:chgData name="Camila Valbuena" userId="96dddc91-0310-4901-8518-e86c705ebbd6" providerId="ADAL" clId="{289F64AF-0AA4-47A6-8069-0B1D64FC8B4F}" dt="2024-07-08T21:37:20.222" v="2535" actId="478"/>
          <ac:spMkLst>
            <pc:docMk/>
            <pc:sldMk cId="1481217205" sldId="2147482488"/>
            <ac:spMk id="4" creationId="{EECEE998-BE29-5C82-3181-32A85F2717B7}"/>
          </ac:spMkLst>
        </pc:spChg>
        <pc:spChg chg="add mod">
          <ac:chgData name="Camila Valbuena" userId="96dddc91-0310-4901-8518-e86c705ebbd6" providerId="ADAL" clId="{289F64AF-0AA4-47A6-8069-0B1D64FC8B4F}" dt="2024-07-08T21:41:01.771" v="2566" actId="14100"/>
          <ac:spMkLst>
            <pc:docMk/>
            <pc:sldMk cId="1481217205" sldId="2147482488"/>
            <ac:spMk id="6" creationId="{CFF74FEB-7503-EAD6-247C-6FFFE36BD512}"/>
          </ac:spMkLst>
        </pc:spChg>
        <pc:spChg chg="del">
          <ac:chgData name="Camila Valbuena" userId="96dddc91-0310-4901-8518-e86c705ebbd6" providerId="ADAL" clId="{289F64AF-0AA4-47A6-8069-0B1D64FC8B4F}" dt="2024-07-08T21:37:20.222" v="2535" actId="478"/>
          <ac:spMkLst>
            <pc:docMk/>
            <pc:sldMk cId="1481217205" sldId="2147482488"/>
            <ac:spMk id="7" creationId="{FC239926-804D-540A-2015-220B246540D5}"/>
          </ac:spMkLst>
        </pc:spChg>
        <pc:spChg chg="del">
          <ac:chgData name="Camila Valbuena" userId="96dddc91-0310-4901-8518-e86c705ebbd6" providerId="ADAL" clId="{289F64AF-0AA4-47A6-8069-0B1D64FC8B4F}" dt="2024-07-08T21:37:20.222" v="2535" actId="478"/>
          <ac:spMkLst>
            <pc:docMk/>
            <pc:sldMk cId="1481217205" sldId="2147482488"/>
            <ac:spMk id="8" creationId="{8D40EF30-BB20-A5DD-9A2B-EE4E0330DAB1}"/>
          </ac:spMkLst>
        </pc:spChg>
        <pc:spChg chg="del">
          <ac:chgData name="Camila Valbuena" userId="96dddc91-0310-4901-8518-e86c705ebbd6" providerId="ADAL" clId="{289F64AF-0AA4-47A6-8069-0B1D64FC8B4F}" dt="2024-07-08T21:37:20.222" v="2535" actId="478"/>
          <ac:spMkLst>
            <pc:docMk/>
            <pc:sldMk cId="1481217205" sldId="2147482488"/>
            <ac:spMk id="9" creationId="{29D1C70A-B876-567E-2C6E-62C980A064D1}"/>
          </ac:spMkLst>
        </pc:spChg>
        <pc:spChg chg="add mod">
          <ac:chgData name="Camila Valbuena" userId="96dddc91-0310-4901-8518-e86c705ebbd6" providerId="ADAL" clId="{289F64AF-0AA4-47A6-8069-0B1D64FC8B4F}" dt="2024-07-08T21:44:28.648" v="2621" actId="790"/>
          <ac:spMkLst>
            <pc:docMk/>
            <pc:sldMk cId="1481217205" sldId="2147482488"/>
            <ac:spMk id="10" creationId="{9EEECD9C-C60D-D8EA-2F6E-06C82B542206}"/>
          </ac:spMkLst>
        </pc:spChg>
        <pc:spChg chg="add mod">
          <ac:chgData name="Camila Valbuena" userId="96dddc91-0310-4901-8518-e86c705ebbd6" providerId="ADAL" clId="{289F64AF-0AA4-47A6-8069-0B1D64FC8B4F}" dt="2024-07-08T21:41:05.825" v="2567" actId="14100"/>
          <ac:spMkLst>
            <pc:docMk/>
            <pc:sldMk cId="1481217205" sldId="2147482488"/>
            <ac:spMk id="11" creationId="{7B9BB310-EC9A-2E92-06B2-EA4204425474}"/>
          </ac:spMkLst>
        </pc:spChg>
        <pc:spChg chg="del">
          <ac:chgData name="Camila Valbuena" userId="96dddc91-0310-4901-8518-e86c705ebbd6" providerId="ADAL" clId="{289F64AF-0AA4-47A6-8069-0B1D64FC8B4F}" dt="2024-07-08T21:37:20.222" v="2535" actId="478"/>
          <ac:spMkLst>
            <pc:docMk/>
            <pc:sldMk cId="1481217205" sldId="2147482488"/>
            <ac:spMk id="12" creationId="{DA055A32-3FF8-64F9-2BF3-6B6B03EED143}"/>
          </ac:spMkLst>
        </pc:spChg>
        <pc:spChg chg="add mod">
          <ac:chgData name="Camila Valbuena" userId="96dddc91-0310-4901-8518-e86c705ebbd6" providerId="ADAL" clId="{289F64AF-0AA4-47A6-8069-0B1D64FC8B4F}" dt="2024-07-08T21:44:36.129" v="2622" actId="790"/>
          <ac:spMkLst>
            <pc:docMk/>
            <pc:sldMk cId="1481217205" sldId="2147482488"/>
            <ac:spMk id="13" creationId="{9297222A-0412-AB16-07FD-64D5A5AD0009}"/>
          </ac:spMkLst>
        </pc:spChg>
        <pc:spChg chg="add mod">
          <ac:chgData name="Camila Valbuena" userId="96dddc91-0310-4901-8518-e86c705ebbd6" providerId="ADAL" clId="{289F64AF-0AA4-47A6-8069-0B1D64FC8B4F}" dt="2024-07-08T21:43:51.247" v="2572" actId="114"/>
          <ac:spMkLst>
            <pc:docMk/>
            <pc:sldMk cId="1481217205" sldId="2147482488"/>
            <ac:spMk id="14" creationId="{FD638726-E61C-DC31-9A9B-45A79A781434}"/>
          </ac:spMkLst>
        </pc:spChg>
        <pc:spChg chg="add mod">
          <ac:chgData name="Camila Valbuena" userId="96dddc91-0310-4901-8518-e86c705ebbd6" providerId="ADAL" clId="{289F64AF-0AA4-47A6-8069-0B1D64FC8B4F}" dt="2024-07-08T21:40:57.400" v="2565" actId="1076"/>
          <ac:spMkLst>
            <pc:docMk/>
            <pc:sldMk cId="1481217205" sldId="2147482488"/>
            <ac:spMk id="15" creationId="{3BA2830A-3DC6-85BA-19D2-95099172E182}"/>
          </ac:spMkLst>
        </pc:spChg>
        <pc:spChg chg="add mod">
          <ac:chgData name="Camila Valbuena" userId="96dddc91-0310-4901-8518-e86c705ebbd6" providerId="ADAL" clId="{289F64AF-0AA4-47A6-8069-0B1D64FC8B4F}" dt="2024-07-08T21:39:44.486" v="2552" actId="20577"/>
          <ac:spMkLst>
            <pc:docMk/>
            <pc:sldMk cId="1481217205" sldId="2147482488"/>
            <ac:spMk id="16" creationId="{94BD07E4-7213-ECD7-F4A9-EF73F596A752}"/>
          </ac:spMkLst>
        </pc:spChg>
        <pc:spChg chg="add mod">
          <ac:chgData name="Camila Valbuena" userId="96dddc91-0310-4901-8518-e86c705ebbd6" providerId="ADAL" clId="{289F64AF-0AA4-47A6-8069-0B1D64FC8B4F}" dt="2024-07-08T21:41:48.511" v="2570" actId="114"/>
          <ac:spMkLst>
            <pc:docMk/>
            <pc:sldMk cId="1481217205" sldId="2147482488"/>
            <ac:spMk id="18" creationId="{4B589DF1-B53E-97DF-5803-CEDD7CE540D0}"/>
          </ac:spMkLst>
        </pc:spChg>
        <pc:spChg chg="add mod">
          <ac:chgData name="Camila Valbuena" userId="96dddc91-0310-4901-8518-e86c705ebbd6" providerId="ADAL" clId="{289F64AF-0AA4-47A6-8069-0B1D64FC8B4F}" dt="2024-07-08T22:29:58.002" v="3240" actId="20577"/>
          <ac:spMkLst>
            <pc:docMk/>
            <pc:sldMk cId="1481217205" sldId="2147482488"/>
            <ac:spMk id="21" creationId="{F7851A6A-B8AD-F4F1-2396-67EDBFD7A6DB}"/>
          </ac:spMkLst>
        </pc:spChg>
        <pc:spChg chg="del mod">
          <ac:chgData name="Camila Valbuena" userId="96dddc91-0310-4901-8518-e86c705ebbd6" providerId="ADAL" clId="{289F64AF-0AA4-47A6-8069-0B1D64FC8B4F}" dt="2024-07-08T21:37:25.746" v="2537" actId="478"/>
          <ac:spMkLst>
            <pc:docMk/>
            <pc:sldMk cId="1481217205" sldId="2147482488"/>
            <ac:spMk id="22" creationId="{502BCC47-4A27-EF8F-94A4-FC2C6AA596A4}"/>
          </ac:spMkLst>
        </pc:spChg>
        <pc:spChg chg="del">
          <ac:chgData name="Camila Valbuena" userId="96dddc91-0310-4901-8518-e86c705ebbd6" providerId="ADAL" clId="{289F64AF-0AA4-47A6-8069-0B1D64FC8B4F}" dt="2024-07-08T21:37:20.222" v="2535" actId="478"/>
          <ac:spMkLst>
            <pc:docMk/>
            <pc:sldMk cId="1481217205" sldId="2147482488"/>
            <ac:spMk id="23" creationId="{594335AA-3DF7-CF8E-2A35-0142895CC036}"/>
          </ac:spMkLst>
        </pc:spChg>
        <pc:spChg chg="del">
          <ac:chgData name="Camila Valbuena" userId="96dddc91-0310-4901-8518-e86c705ebbd6" providerId="ADAL" clId="{289F64AF-0AA4-47A6-8069-0B1D64FC8B4F}" dt="2024-07-08T21:37:20.222" v="2535" actId="478"/>
          <ac:spMkLst>
            <pc:docMk/>
            <pc:sldMk cId="1481217205" sldId="2147482488"/>
            <ac:spMk id="24" creationId="{75C32E1D-096F-C14E-7789-0F7B44956912}"/>
          </ac:spMkLst>
        </pc:spChg>
        <pc:spChg chg="del">
          <ac:chgData name="Camila Valbuena" userId="96dddc91-0310-4901-8518-e86c705ebbd6" providerId="ADAL" clId="{289F64AF-0AA4-47A6-8069-0B1D64FC8B4F}" dt="2024-07-08T21:37:20.222" v="2535" actId="478"/>
          <ac:spMkLst>
            <pc:docMk/>
            <pc:sldMk cId="1481217205" sldId="2147482488"/>
            <ac:spMk id="26" creationId="{5D2455F6-66AA-E41C-58FA-1830342EB00C}"/>
          </ac:spMkLst>
        </pc:spChg>
        <pc:spChg chg="del">
          <ac:chgData name="Camila Valbuena" userId="96dddc91-0310-4901-8518-e86c705ebbd6" providerId="ADAL" clId="{289F64AF-0AA4-47A6-8069-0B1D64FC8B4F}" dt="2024-07-08T21:37:20.222" v="2535" actId="478"/>
          <ac:spMkLst>
            <pc:docMk/>
            <pc:sldMk cId="1481217205" sldId="2147482488"/>
            <ac:spMk id="28" creationId="{9BA59F76-EE84-F435-C266-1723B73BB617}"/>
          </ac:spMkLst>
        </pc:spChg>
        <pc:spChg chg="add mod">
          <ac:chgData name="Camila Valbuena" userId="96dddc91-0310-4901-8518-e86c705ebbd6" providerId="ADAL" clId="{289F64AF-0AA4-47A6-8069-0B1D64FC8B4F}" dt="2024-07-09T00:19:09.865" v="5682"/>
          <ac:spMkLst>
            <pc:docMk/>
            <pc:sldMk cId="1481217205" sldId="2147482488"/>
            <ac:spMk id="30" creationId="{80DA8DB6-1F91-0E4D-8069-56B676C4FD04}"/>
          </ac:spMkLst>
        </pc:spChg>
        <pc:spChg chg="del">
          <ac:chgData name="Camila Valbuena" userId="96dddc91-0310-4901-8518-e86c705ebbd6" providerId="ADAL" clId="{289F64AF-0AA4-47A6-8069-0B1D64FC8B4F}" dt="2024-07-08T21:37:20.222" v="2535" actId="478"/>
          <ac:spMkLst>
            <pc:docMk/>
            <pc:sldMk cId="1481217205" sldId="2147482488"/>
            <ac:spMk id="49" creationId="{D7EEAEA9-38B6-355F-4F91-E314DF217F27}"/>
          </ac:spMkLst>
        </pc:spChg>
        <pc:spChg chg="del">
          <ac:chgData name="Camila Valbuena" userId="96dddc91-0310-4901-8518-e86c705ebbd6" providerId="ADAL" clId="{289F64AF-0AA4-47A6-8069-0B1D64FC8B4F}" dt="2024-07-08T21:37:20.222" v="2535" actId="478"/>
          <ac:spMkLst>
            <pc:docMk/>
            <pc:sldMk cId="1481217205" sldId="2147482488"/>
            <ac:spMk id="51" creationId="{7B84341A-1094-A751-C490-35E8D02CE41A}"/>
          </ac:spMkLst>
        </pc:spChg>
        <pc:spChg chg="mod">
          <ac:chgData name="Camila Valbuena" userId="96dddc91-0310-4901-8518-e86c705ebbd6" providerId="ADAL" clId="{289F64AF-0AA4-47A6-8069-0B1D64FC8B4F}" dt="2024-07-08T21:38:06.977" v="2541" actId="1076"/>
          <ac:spMkLst>
            <pc:docMk/>
            <pc:sldMk cId="1481217205" sldId="2147482488"/>
            <ac:spMk id="52" creationId="{C9515763-40B5-0DBE-B16E-FA0AFD0185B8}"/>
          </ac:spMkLst>
        </pc:spChg>
        <pc:spChg chg="del">
          <ac:chgData name="Camila Valbuena" userId="96dddc91-0310-4901-8518-e86c705ebbd6" providerId="ADAL" clId="{289F64AF-0AA4-47A6-8069-0B1D64FC8B4F}" dt="2024-07-08T21:37:20.222" v="2535" actId="478"/>
          <ac:spMkLst>
            <pc:docMk/>
            <pc:sldMk cId="1481217205" sldId="2147482488"/>
            <ac:spMk id="53" creationId="{4E8CBE4D-5CD5-8567-2535-6C9420743826}"/>
          </ac:spMkLst>
        </pc:spChg>
        <pc:spChg chg="mod">
          <ac:chgData name="Camila Valbuena" userId="96dddc91-0310-4901-8518-e86c705ebbd6" providerId="ADAL" clId="{289F64AF-0AA4-47A6-8069-0B1D64FC8B4F}" dt="2024-07-08T21:38:06.977" v="2541" actId="1076"/>
          <ac:spMkLst>
            <pc:docMk/>
            <pc:sldMk cId="1481217205" sldId="2147482488"/>
            <ac:spMk id="54" creationId="{45944AC8-71EE-3EE6-B3F7-6480135ADDED}"/>
          </ac:spMkLst>
        </pc:spChg>
        <pc:spChg chg="del">
          <ac:chgData name="Camila Valbuena" userId="96dddc91-0310-4901-8518-e86c705ebbd6" providerId="ADAL" clId="{289F64AF-0AA4-47A6-8069-0B1D64FC8B4F}" dt="2024-07-08T21:37:20.222" v="2535" actId="478"/>
          <ac:spMkLst>
            <pc:docMk/>
            <pc:sldMk cId="1481217205" sldId="2147482488"/>
            <ac:spMk id="56" creationId="{2BE04439-6DC8-B393-86BB-996CD0185072}"/>
          </ac:spMkLst>
        </pc:spChg>
        <pc:spChg chg="del">
          <ac:chgData name="Camila Valbuena" userId="96dddc91-0310-4901-8518-e86c705ebbd6" providerId="ADAL" clId="{289F64AF-0AA4-47A6-8069-0B1D64FC8B4F}" dt="2024-07-08T21:37:20.222" v="2535" actId="478"/>
          <ac:spMkLst>
            <pc:docMk/>
            <pc:sldMk cId="1481217205" sldId="2147482488"/>
            <ac:spMk id="57" creationId="{AC5CBBD5-C656-D280-D8C7-2B2A74CB8D0D}"/>
          </ac:spMkLst>
        </pc:spChg>
        <pc:picChg chg="add mod">
          <ac:chgData name="Camila Valbuena" userId="96dddc91-0310-4901-8518-e86c705ebbd6" providerId="ADAL" clId="{289F64AF-0AA4-47A6-8069-0B1D64FC8B4F}" dt="2024-07-08T21:38:06.977" v="2541" actId="1076"/>
          <ac:picMkLst>
            <pc:docMk/>
            <pc:sldMk cId="1481217205" sldId="2147482488"/>
            <ac:picMk id="17" creationId="{A04FD2DC-7F21-6C38-C59F-3BDE2B5DEF9A}"/>
          </ac:picMkLst>
        </pc:picChg>
        <pc:picChg chg="add mod">
          <ac:chgData name="Camila Valbuena" userId="96dddc91-0310-4901-8518-e86c705ebbd6" providerId="ADAL" clId="{289F64AF-0AA4-47A6-8069-0B1D64FC8B4F}" dt="2024-07-08T21:38:06.977" v="2541" actId="1076"/>
          <ac:picMkLst>
            <pc:docMk/>
            <pc:sldMk cId="1481217205" sldId="2147482488"/>
            <ac:picMk id="19" creationId="{6B214504-A690-E080-0097-B705ACA61D20}"/>
          </ac:picMkLst>
        </pc:picChg>
        <pc:picChg chg="del">
          <ac:chgData name="Camila Valbuena" userId="96dddc91-0310-4901-8518-e86c705ebbd6" providerId="ADAL" clId="{289F64AF-0AA4-47A6-8069-0B1D64FC8B4F}" dt="2024-07-08T21:37:20.222" v="2535" actId="478"/>
          <ac:picMkLst>
            <pc:docMk/>
            <pc:sldMk cId="1481217205" sldId="2147482488"/>
            <ac:picMk id="27" creationId="{845DB089-235E-F9EF-33DE-9AA5425721ED}"/>
          </ac:picMkLst>
        </pc:picChg>
        <pc:picChg chg="del">
          <ac:chgData name="Camila Valbuena" userId="96dddc91-0310-4901-8518-e86c705ebbd6" providerId="ADAL" clId="{289F64AF-0AA4-47A6-8069-0B1D64FC8B4F}" dt="2024-07-08T21:37:20.222" v="2535" actId="478"/>
          <ac:picMkLst>
            <pc:docMk/>
            <pc:sldMk cId="1481217205" sldId="2147482488"/>
            <ac:picMk id="29" creationId="{2540B80D-A6D0-8F8B-39C6-0680F6AC885E}"/>
          </ac:picMkLst>
        </pc:picChg>
        <pc:cxnChg chg="del mod">
          <ac:chgData name="Camila Valbuena" userId="96dddc91-0310-4901-8518-e86c705ebbd6" providerId="ADAL" clId="{289F64AF-0AA4-47A6-8069-0B1D64FC8B4F}" dt="2024-07-08T21:37:25.746" v="2537" actId="478"/>
          <ac:cxnSpMkLst>
            <pc:docMk/>
            <pc:sldMk cId="1481217205" sldId="2147482488"/>
            <ac:cxnSpMk id="25" creationId="{82D48592-FCD9-86AF-9A4D-98CD5D2927FE}"/>
          </ac:cxnSpMkLst>
        </pc:cxnChg>
      </pc:sldChg>
      <pc:sldChg chg="del">
        <pc:chgData name="Camila Valbuena" userId="96dddc91-0310-4901-8518-e86c705ebbd6" providerId="ADAL" clId="{289F64AF-0AA4-47A6-8069-0B1D64FC8B4F}" dt="2024-07-08T21:37:03.878" v="2531" actId="47"/>
        <pc:sldMkLst>
          <pc:docMk/>
          <pc:sldMk cId="2258292377" sldId="2147482488"/>
        </pc:sldMkLst>
      </pc:sldChg>
      <pc:sldChg chg="add del ord">
        <pc:chgData name="Camila Valbuena" userId="96dddc91-0310-4901-8518-e86c705ebbd6" providerId="ADAL" clId="{289F64AF-0AA4-47A6-8069-0B1D64FC8B4F}" dt="2024-07-08T22:04:05.785" v="2756" actId="47"/>
        <pc:sldMkLst>
          <pc:docMk/>
          <pc:sldMk cId="1146332407" sldId="2147482489"/>
        </pc:sldMkLst>
      </pc:sldChg>
      <pc:sldChg chg="addSp delSp modSp mod">
        <pc:chgData name="Camila Valbuena" userId="96dddc91-0310-4901-8518-e86c705ebbd6" providerId="ADAL" clId="{289F64AF-0AA4-47A6-8069-0B1D64FC8B4F}" dt="2024-07-09T00:23:05.867" v="5785" actId="1036"/>
        <pc:sldMkLst>
          <pc:docMk/>
          <pc:sldMk cId="1233883928" sldId="2147482710"/>
        </pc:sldMkLst>
        <pc:spChg chg="del">
          <ac:chgData name="Camila Valbuena" userId="96dddc91-0310-4901-8518-e86c705ebbd6" providerId="ADAL" clId="{289F64AF-0AA4-47A6-8069-0B1D64FC8B4F}" dt="2024-07-08T22:17:59.083" v="3007" actId="478"/>
          <ac:spMkLst>
            <pc:docMk/>
            <pc:sldMk cId="1233883928" sldId="2147482710"/>
            <ac:spMk id="2" creationId="{1BF44598-CB44-EA57-5F0F-AF22AB8D52AB}"/>
          </ac:spMkLst>
        </pc:spChg>
        <pc:spChg chg="mod">
          <ac:chgData name="Camila Valbuena" userId="96dddc91-0310-4901-8518-e86c705ebbd6" providerId="ADAL" clId="{289F64AF-0AA4-47A6-8069-0B1D64FC8B4F}" dt="2024-07-08T22:20:01.710" v="3063" actId="1076"/>
          <ac:spMkLst>
            <pc:docMk/>
            <pc:sldMk cId="1233883928" sldId="2147482710"/>
            <ac:spMk id="6" creationId="{234144D8-0F97-D1DC-1B3A-2CB9118E6A75}"/>
          </ac:spMkLst>
        </pc:spChg>
        <pc:spChg chg="mod">
          <ac:chgData name="Camila Valbuena" userId="96dddc91-0310-4901-8518-e86c705ebbd6" providerId="ADAL" clId="{289F64AF-0AA4-47A6-8069-0B1D64FC8B4F}" dt="2024-07-08T22:28:59.614" v="3194" actId="790"/>
          <ac:spMkLst>
            <pc:docMk/>
            <pc:sldMk cId="1233883928" sldId="2147482710"/>
            <ac:spMk id="11" creationId="{69A57AA6-77F4-61D3-ED97-05B500BCE1B7}"/>
          </ac:spMkLst>
        </pc:spChg>
        <pc:spChg chg="mod">
          <ac:chgData name="Camila Valbuena" userId="96dddc91-0310-4901-8518-e86c705ebbd6" providerId="ADAL" clId="{289F64AF-0AA4-47A6-8069-0B1D64FC8B4F}" dt="2024-07-08T22:29:17.573" v="3203" actId="14100"/>
          <ac:spMkLst>
            <pc:docMk/>
            <pc:sldMk cId="1233883928" sldId="2147482710"/>
            <ac:spMk id="15" creationId="{E1339E3C-BA00-8A1A-87BD-6AAD4EF1995B}"/>
          </ac:spMkLst>
        </pc:spChg>
        <pc:spChg chg="mod">
          <ac:chgData name="Camila Valbuena" userId="96dddc91-0310-4901-8518-e86c705ebbd6" providerId="ADAL" clId="{289F64AF-0AA4-47A6-8069-0B1D64FC8B4F}" dt="2024-07-08T22:18:27.262" v="3016" actId="207"/>
          <ac:spMkLst>
            <pc:docMk/>
            <pc:sldMk cId="1233883928" sldId="2147482710"/>
            <ac:spMk id="192" creationId="{AB358DD3-4D52-0F22-8DE3-EC16CA46AF2B}"/>
          </ac:spMkLst>
        </pc:spChg>
        <pc:spChg chg="mod">
          <ac:chgData name="Camila Valbuena" userId="96dddc91-0310-4901-8518-e86c705ebbd6" providerId="ADAL" clId="{289F64AF-0AA4-47A6-8069-0B1D64FC8B4F}" dt="2024-07-09T00:10:32.379" v="5621" actId="20577"/>
          <ac:spMkLst>
            <pc:docMk/>
            <pc:sldMk cId="1233883928" sldId="2147482710"/>
            <ac:spMk id="193" creationId="{1EE053BD-7733-BC77-6A21-F24185BC521C}"/>
          </ac:spMkLst>
        </pc:spChg>
        <pc:spChg chg="mod">
          <ac:chgData name="Camila Valbuena" userId="96dddc91-0310-4901-8518-e86c705ebbd6" providerId="ADAL" clId="{289F64AF-0AA4-47A6-8069-0B1D64FC8B4F}" dt="2024-07-08T22:29:08.367" v="3197" actId="14100"/>
          <ac:spMkLst>
            <pc:docMk/>
            <pc:sldMk cId="1233883928" sldId="2147482710"/>
            <ac:spMk id="199" creationId="{B158BF8A-EB5E-D813-1DD2-A48931D7125D}"/>
          </ac:spMkLst>
        </pc:spChg>
        <pc:spChg chg="mod">
          <ac:chgData name="Camila Valbuena" userId="96dddc91-0310-4901-8518-e86c705ebbd6" providerId="ADAL" clId="{289F64AF-0AA4-47A6-8069-0B1D64FC8B4F}" dt="2024-07-08T22:27:21.282" v="3138" actId="20577"/>
          <ac:spMkLst>
            <pc:docMk/>
            <pc:sldMk cId="1233883928" sldId="2147482710"/>
            <ac:spMk id="208" creationId="{DA81DA77-AF07-3822-A60C-F2F45DDD23F6}"/>
          </ac:spMkLst>
        </pc:spChg>
        <pc:spChg chg="mod">
          <ac:chgData name="Camila Valbuena" userId="96dddc91-0310-4901-8518-e86c705ebbd6" providerId="ADAL" clId="{289F64AF-0AA4-47A6-8069-0B1D64FC8B4F}" dt="2024-07-08T22:18:24.845" v="3015" actId="207"/>
          <ac:spMkLst>
            <pc:docMk/>
            <pc:sldMk cId="1233883928" sldId="2147482710"/>
            <ac:spMk id="246" creationId="{F218F018-D89C-BA38-01AA-60E17EAC352F}"/>
          </ac:spMkLst>
        </pc:spChg>
        <pc:spChg chg="mod">
          <ac:chgData name="Camila Valbuena" userId="96dddc91-0310-4901-8518-e86c705ebbd6" providerId="ADAL" clId="{289F64AF-0AA4-47A6-8069-0B1D64FC8B4F}" dt="2024-07-08T22:19:59.917" v="3062" actId="1076"/>
          <ac:spMkLst>
            <pc:docMk/>
            <pc:sldMk cId="1233883928" sldId="2147482710"/>
            <ac:spMk id="253" creationId="{795E4931-AE54-AEC7-628B-40C432ED2CD7}"/>
          </ac:spMkLst>
        </pc:spChg>
        <pc:spChg chg="mod ord">
          <ac:chgData name="Camila Valbuena" userId="96dddc91-0310-4901-8518-e86c705ebbd6" providerId="ADAL" clId="{289F64AF-0AA4-47A6-8069-0B1D64FC8B4F}" dt="2024-07-09T00:23:05.867" v="5785" actId="1036"/>
          <ac:spMkLst>
            <pc:docMk/>
            <pc:sldMk cId="1233883928" sldId="2147482710"/>
            <ac:spMk id="254" creationId="{87300C3D-5135-1B2B-0EDC-2E9D4111661B}"/>
          </ac:spMkLst>
        </pc:spChg>
        <pc:spChg chg="mod">
          <ac:chgData name="Camila Valbuena" userId="96dddc91-0310-4901-8518-e86c705ebbd6" providerId="ADAL" clId="{289F64AF-0AA4-47A6-8069-0B1D64FC8B4F}" dt="2024-07-08T22:18:20.236" v="3014" actId="1076"/>
          <ac:spMkLst>
            <pc:docMk/>
            <pc:sldMk cId="1233883928" sldId="2147482710"/>
            <ac:spMk id="255" creationId="{BF801C84-8C0C-F330-D65F-9CB048C643ED}"/>
          </ac:spMkLst>
        </pc:spChg>
        <pc:spChg chg="mod">
          <ac:chgData name="Camila Valbuena" userId="96dddc91-0310-4901-8518-e86c705ebbd6" providerId="ADAL" clId="{289F64AF-0AA4-47A6-8069-0B1D64FC8B4F}" dt="2024-07-08T22:19:56.271" v="3060" actId="1076"/>
          <ac:spMkLst>
            <pc:docMk/>
            <pc:sldMk cId="1233883928" sldId="2147482710"/>
            <ac:spMk id="284" creationId="{A454517C-5191-C216-E2E2-1839A0C0D24D}"/>
          </ac:spMkLst>
        </pc:spChg>
        <pc:graphicFrameChg chg="del">
          <ac:chgData name="Camila Valbuena" userId="96dddc91-0310-4901-8518-e86c705ebbd6" providerId="ADAL" clId="{289F64AF-0AA4-47A6-8069-0B1D64FC8B4F}" dt="2024-07-08T22:19:25.510" v="3041" actId="478"/>
          <ac:graphicFrameMkLst>
            <pc:docMk/>
            <pc:sldMk cId="1233883928" sldId="2147482710"/>
            <ac:graphicFrameMk id="8" creationId="{1884F077-5E13-57C2-AC4E-574E46667837}"/>
          </ac:graphicFrameMkLst>
        </pc:graphicFrameChg>
        <pc:picChg chg="add mod">
          <ac:chgData name="Camila Valbuena" userId="96dddc91-0310-4901-8518-e86c705ebbd6" providerId="ADAL" clId="{289F64AF-0AA4-47A6-8069-0B1D64FC8B4F}" dt="2024-07-09T00:07:25.237" v="5600" actId="1076"/>
          <ac:picMkLst>
            <pc:docMk/>
            <pc:sldMk cId="1233883928" sldId="2147482710"/>
            <ac:picMk id="5" creationId="{E4B6CC84-976C-5B4D-7180-B74D302727AF}"/>
          </ac:picMkLst>
        </pc:picChg>
        <pc:picChg chg="del mod">
          <ac:chgData name="Camila Valbuena" userId="96dddc91-0310-4901-8518-e86c705ebbd6" providerId="ADAL" clId="{289F64AF-0AA4-47A6-8069-0B1D64FC8B4F}" dt="2024-07-08T22:29:22.070" v="3205" actId="478"/>
          <ac:picMkLst>
            <pc:docMk/>
            <pc:sldMk cId="1233883928" sldId="2147482710"/>
            <ac:picMk id="7" creationId="{EF0BFFCD-2DD7-F2E3-8055-D2F5F265ABFB}"/>
          </ac:picMkLst>
        </pc:picChg>
        <pc:picChg chg="del">
          <ac:chgData name="Camila Valbuena" userId="96dddc91-0310-4901-8518-e86c705ebbd6" providerId="ADAL" clId="{289F64AF-0AA4-47A6-8069-0B1D64FC8B4F}" dt="2024-07-08T22:29:22.845" v="3206" actId="478"/>
          <ac:picMkLst>
            <pc:docMk/>
            <pc:sldMk cId="1233883928" sldId="2147482710"/>
            <ac:picMk id="10" creationId="{720803BD-955D-084E-E8A6-532E92EC3198}"/>
          </ac:picMkLst>
        </pc:picChg>
        <pc:picChg chg="mod">
          <ac:chgData name="Camila Valbuena" userId="96dddc91-0310-4901-8518-e86c705ebbd6" providerId="ADAL" clId="{289F64AF-0AA4-47A6-8069-0B1D64FC8B4F}" dt="2024-07-08T22:29:05.998" v="3196" actId="1076"/>
          <ac:picMkLst>
            <pc:docMk/>
            <pc:sldMk cId="1233883928" sldId="2147482710"/>
            <ac:picMk id="19" creationId="{C014B729-07A1-9FD9-8B39-8C2CF97F0499}"/>
          </ac:picMkLst>
        </pc:picChg>
        <pc:picChg chg="del">
          <ac:chgData name="Camila Valbuena" userId="96dddc91-0310-4901-8518-e86c705ebbd6" providerId="ADAL" clId="{289F64AF-0AA4-47A6-8069-0B1D64FC8B4F}" dt="2024-07-08T22:18:35.817" v="3025" actId="478"/>
          <ac:picMkLst>
            <pc:docMk/>
            <pc:sldMk cId="1233883928" sldId="2147482710"/>
            <ac:picMk id="4162" creationId="{BA1D9F0A-DE93-FA29-6E45-452A3B306C7F}"/>
          </ac:picMkLst>
        </pc:picChg>
      </pc:sldChg>
      <pc:sldChg chg="del">
        <pc:chgData name="Camila Valbuena" userId="96dddc91-0310-4901-8518-e86c705ebbd6" providerId="ADAL" clId="{289F64AF-0AA4-47A6-8069-0B1D64FC8B4F}" dt="2024-07-08T21:03:30.948" v="2149" actId="47"/>
        <pc:sldMkLst>
          <pc:docMk/>
          <pc:sldMk cId="3119855810" sldId="2147482713"/>
        </pc:sldMkLst>
      </pc:sldChg>
      <pc:sldChg chg="delSp modSp mod">
        <pc:chgData name="Camila Valbuena" userId="96dddc91-0310-4901-8518-e86c705ebbd6" providerId="ADAL" clId="{289F64AF-0AA4-47A6-8069-0B1D64FC8B4F}" dt="2024-07-09T00:19:48.523" v="5683" actId="1076"/>
        <pc:sldMkLst>
          <pc:docMk/>
          <pc:sldMk cId="1516587489" sldId="2147482714"/>
        </pc:sldMkLst>
        <pc:spChg chg="mod">
          <ac:chgData name="Camila Valbuena" userId="96dddc91-0310-4901-8518-e86c705ebbd6" providerId="ADAL" clId="{289F64AF-0AA4-47A6-8069-0B1D64FC8B4F}" dt="2024-07-08T22:11:33.064" v="2934" actId="20577"/>
          <ac:spMkLst>
            <pc:docMk/>
            <pc:sldMk cId="1516587489" sldId="2147482714"/>
            <ac:spMk id="4" creationId="{E1339E3C-BA00-8A1A-87BD-6AAD4EF1995B}"/>
          </ac:spMkLst>
        </pc:spChg>
        <pc:spChg chg="mod">
          <ac:chgData name="Camila Valbuena" userId="96dddc91-0310-4901-8518-e86c705ebbd6" providerId="ADAL" clId="{289F64AF-0AA4-47A6-8069-0B1D64FC8B4F}" dt="2024-07-09T00:19:48.523" v="5683" actId="1076"/>
          <ac:spMkLst>
            <pc:docMk/>
            <pc:sldMk cId="1516587489" sldId="2147482714"/>
            <ac:spMk id="6" creationId="{2CFFD8FD-EB57-152E-D910-E685F4F1B8A8}"/>
          </ac:spMkLst>
        </pc:spChg>
        <pc:spChg chg="mod">
          <ac:chgData name="Camila Valbuena" userId="96dddc91-0310-4901-8518-e86c705ebbd6" providerId="ADAL" clId="{289F64AF-0AA4-47A6-8069-0B1D64FC8B4F}" dt="2024-07-09T00:10:07.486" v="5610" actId="20577"/>
          <ac:spMkLst>
            <pc:docMk/>
            <pc:sldMk cId="1516587489" sldId="2147482714"/>
            <ac:spMk id="193" creationId="{1EE053BD-7733-BC77-6A21-F24185BC521C}"/>
          </ac:spMkLst>
        </pc:spChg>
        <pc:spChg chg="mod">
          <ac:chgData name="Camila Valbuena" userId="96dddc91-0310-4901-8518-e86c705ebbd6" providerId="ADAL" clId="{289F64AF-0AA4-47A6-8069-0B1D64FC8B4F}" dt="2024-07-08T22:10:45.155" v="2929"/>
          <ac:spMkLst>
            <pc:docMk/>
            <pc:sldMk cId="1516587489" sldId="2147482714"/>
            <ac:spMk id="199" creationId="{B158BF8A-EB5E-D813-1DD2-A48931D7125D}"/>
          </ac:spMkLst>
        </pc:spChg>
        <pc:spChg chg="mod">
          <ac:chgData name="Camila Valbuena" userId="96dddc91-0310-4901-8518-e86c705ebbd6" providerId="ADAL" clId="{289F64AF-0AA4-47A6-8069-0B1D64FC8B4F}" dt="2024-07-08T22:10:13.751" v="2923" actId="20577"/>
          <ac:spMkLst>
            <pc:docMk/>
            <pc:sldMk cId="1516587489" sldId="2147482714"/>
            <ac:spMk id="200" creationId="{8C6AA9F5-FF9D-D505-3D6B-9A7D7F371F29}"/>
          </ac:spMkLst>
        </pc:spChg>
        <pc:spChg chg="mod">
          <ac:chgData name="Camila Valbuena" userId="96dddc91-0310-4901-8518-e86c705ebbd6" providerId="ADAL" clId="{289F64AF-0AA4-47A6-8069-0B1D64FC8B4F}" dt="2024-07-08T22:13:41.134" v="2967" actId="6549"/>
          <ac:spMkLst>
            <pc:docMk/>
            <pc:sldMk cId="1516587489" sldId="2147482714"/>
            <ac:spMk id="208" creationId="{DA81DA77-AF07-3822-A60C-F2F45DDD23F6}"/>
          </ac:spMkLst>
        </pc:spChg>
        <pc:picChg chg="mod">
          <ac:chgData name="Camila Valbuena" userId="96dddc91-0310-4901-8518-e86c705ebbd6" providerId="ADAL" clId="{289F64AF-0AA4-47A6-8069-0B1D64FC8B4F}" dt="2024-07-08T22:10:31.227" v="2927" actId="1076"/>
          <ac:picMkLst>
            <pc:docMk/>
            <pc:sldMk cId="1516587489" sldId="2147482714"/>
            <ac:picMk id="3" creationId="{3F859C34-B88F-E580-A53C-55C70F857306}"/>
          </ac:picMkLst>
        </pc:picChg>
        <pc:picChg chg="mod">
          <ac:chgData name="Camila Valbuena" userId="96dddc91-0310-4901-8518-e86c705ebbd6" providerId="ADAL" clId="{289F64AF-0AA4-47A6-8069-0B1D64FC8B4F}" dt="2024-07-08T22:10:32.348" v="2928" actId="1076"/>
          <ac:picMkLst>
            <pc:docMk/>
            <pc:sldMk cId="1516587489" sldId="2147482714"/>
            <ac:picMk id="7" creationId="{D78FC84C-8DD8-9415-6C4D-FEABE0335B53}"/>
          </ac:picMkLst>
        </pc:picChg>
        <pc:picChg chg="del">
          <ac:chgData name="Camila Valbuena" userId="96dddc91-0310-4901-8518-e86c705ebbd6" providerId="ADAL" clId="{289F64AF-0AA4-47A6-8069-0B1D64FC8B4F}" dt="2024-07-08T22:07:16.574" v="2868" actId="478"/>
          <ac:picMkLst>
            <pc:docMk/>
            <pc:sldMk cId="1516587489" sldId="2147482714"/>
            <ac:picMk id="17" creationId="{E935E3E9-377F-DC1C-E1B4-1A71B2518B9F}"/>
          </ac:picMkLst>
        </pc:picChg>
      </pc:sldChg>
      <pc:sldChg chg="addSp delSp modSp mod">
        <pc:chgData name="Camila Valbuena" userId="96dddc91-0310-4901-8518-e86c705ebbd6" providerId="ADAL" clId="{289F64AF-0AA4-47A6-8069-0B1D64FC8B4F}" dt="2024-07-09T00:21:45.720" v="5782" actId="1076"/>
        <pc:sldMkLst>
          <pc:docMk/>
          <pc:sldMk cId="4268544180" sldId="2147482715"/>
        </pc:sldMkLst>
        <pc:spChg chg="add mod">
          <ac:chgData name="Camila Valbuena" userId="96dddc91-0310-4901-8518-e86c705ebbd6" providerId="ADAL" clId="{289F64AF-0AA4-47A6-8069-0B1D64FC8B4F}" dt="2024-07-08T22:12:30.875" v="2939" actId="1076"/>
          <ac:spMkLst>
            <pc:docMk/>
            <pc:sldMk cId="4268544180" sldId="2147482715"/>
            <ac:spMk id="3" creationId="{AA873D99-D105-1CD6-01A0-73DE369B2AC8}"/>
          </ac:spMkLst>
        </pc:spChg>
        <pc:spChg chg="mod">
          <ac:chgData name="Camila Valbuena" userId="96dddc91-0310-4901-8518-e86c705ebbd6" providerId="ADAL" clId="{289F64AF-0AA4-47A6-8069-0B1D64FC8B4F}" dt="2024-07-08T22:17:15.369" v="3006" actId="20577"/>
          <ac:spMkLst>
            <pc:docMk/>
            <pc:sldMk cId="4268544180" sldId="2147482715"/>
            <ac:spMk id="4" creationId="{E1339E3C-BA00-8A1A-87BD-6AAD4EF1995B}"/>
          </ac:spMkLst>
        </pc:spChg>
        <pc:spChg chg="mod">
          <ac:chgData name="Camila Valbuena" userId="96dddc91-0310-4901-8518-e86c705ebbd6" providerId="ADAL" clId="{289F64AF-0AA4-47A6-8069-0B1D64FC8B4F}" dt="2024-07-08T22:14:59.915" v="2968" actId="20577"/>
          <ac:spMkLst>
            <pc:docMk/>
            <pc:sldMk cId="4268544180" sldId="2147482715"/>
            <ac:spMk id="5" creationId="{6E806445-0227-E240-2AEE-3F3D7764C8DF}"/>
          </ac:spMkLst>
        </pc:spChg>
        <pc:spChg chg="add del mod">
          <ac:chgData name="Camila Valbuena" userId="96dddc91-0310-4901-8518-e86c705ebbd6" providerId="ADAL" clId="{289F64AF-0AA4-47A6-8069-0B1D64FC8B4F}" dt="2024-07-09T00:06:25.933" v="5595" actId="478"/>
          <ac:spMkLst>
            <pc:docMk/>
            <pc:sldMk cId="4268544180" sldId="2147482715"/>
            <ac:spMk id="6" creationId="{1A707C1E-4C29-0D97-AFE9-60F518BD19DD}"/>
          </ac:spMkLst>
        </pc:spChg>
        <pc:spChg chg="mod">
          <ac:chgData name="Camila Valbuena" userId="96dddc91-0310-4901-8518-e86c705ebbd6" providerId="ADAL" clId="{289F64AF-0AA4-47A6-8069-0B1D64FC8B4F}" dt="2024-07-08T22:18:13.926" v="3012" actId="207"/>
          <ac:spMkLst>
            <pc:docMk/>
            <pc:sldMk cId="4268544180" sldId="2147482715"/>
            <ac:spMk id="192" creationId="{AB358DD3-4D52-0F22-8DE3-EC16CA46AF2B}"/>
          </ac:spMkLst>
        </pc:spChg>
        <pc:spChg chg="mod">
          <ac:chgData name="Camila Valbuena" userId="96dddc91-0310-4901-8518-e86c705ebbd6" providerId="ADAL" clId="{289F64AF-0AA4-47A6-8069-0B1D64FC8B4F}" dt="2024-07-09T00:10:19.399" v="5613"/>
          <ac:spMkLst>
            <pc:docMk/>
            <pc:sldMk cId="4268544180" sldId="2147482715"/>
            <ac:spMk id="193" creationId="{1EE053BD-7733-BC77-6A21-F24185BC521C}"/>
          </ac:spMkLst>
        </pc:spChg>
        <pc:spChg chg="del">
          <ac:chgData name="Camila Valbuena" userId="96dddc91-0310-4901-8518-e86c705ebbd6" providerId="ADAL" clId="{289F64AF-0AA4-47A6-8069-0B1D64FC8B4F}" dt="2024-07-08T22:12:25.357" v="2936" actId="478"/>
          <ac:spMkLst>
            <pc:docMk/>
            <pc:sldMk cId="4268544180" sldId="2147482715"/>
            <ac:spMk id="199" creationId="{B158BF8A-EB5E-D813-1DD2-A48931D7125D}"/>
          </ac:spMkLst>
        </pc:spChg>
        <pc:spChg chg="mod">
          <ac:chgData name="Camila Valbuena" userId="96dddc91-0310-4901-8518-e86c705ebbd6" providerId="ADAL" clId="{289F64AF-0AA4-47A6-8069-0B1D64FC8B4F}" dt="2024-07-09T00:21:33.691" v="5779" actId="6549"/>
          <ac:spMkLst>
            <pc:docMk/>
            <pc:sldMk cId="4268544180" sldId="2147482715"/>
            <ac:spMk id="208" creationId="{DA81DA77-AF07-3822-A60C-F2F45DDD23F6}"/>
          </ac:spMkLst>
        </pc:spChg>
        <pc:picChg chg="mod">
          <ac:chgData name="Camila Valbuena" userId="96dddc91-0310-4901-8518-e86c705ebbd6" providerId="ADAL" clId="{289F64AF-0AA4-47A6-8069-0B1D64FC8B4F}" dt="2024-07-09T00:21:40.796" v="5780" actId="1076"/>
          <ac:picMkLst>
            <pc:docMk/>
            <pc:sldMk cId="4268544180" sldId="2147482715"/>
            <ac:picMk id="7" creationId="{A371D8E9-D873-948A-75D4-617DF8643513}"/>
          </ac:picMkLst>
        </pc:picChg>
        <pc:picChg chg="add mod modCrop">
          <ac:chgData name="Camila Valbuena" userId="96dddc91-0310-4901-8518-e86c705ebbd6" providerId="ADAL" clId="{289F64AF-0AA4-47A6-8069-0B1D64FC8B4F}" dt="2024-07-09T00:21:45.720" v="5782" actId="1076"/>
          <ac:picMkLst>
            <pc:docMk/>
            <pc:sldMk cId="4268544180" sldId="2147482715"/>
            <ac:picMk id="9" creationId="{F9389456-FF3C-BEB3-7509-68A09BBCDBEB}"/>
          </ac:picMkLst>
        </pc:picChg>
        <pc:picChg chg="del">
          <ac:chgData name="Camila Valbuena" userId="96dddc91-0310-4901-8518-e86c705ebbd6" providerId="ADAL" clId="{289F64AF-0AA4-47A6-8069-0B1D64FC8B4F}" dt="2024-07-08T22:12:26.716" v="2937" actId="478"/>
          <ac:picMkLst>
            <pc:docMk/>
            <pc:sldMk cId="4268544180" sldId="2147482715"/>
            <ac:picMk id="17" creationId="{E935E3E9-377F-DC1C-E1B4-1A71B2518B9F}"/>
          </ac:picMkLst>
        </pc:picChg>
      </pc:sldChg>
      <pc:sldChg chg="addSp delSp modSp add del mod ord">
        <pc:chgData name="Camila Valbuena" userId="96dddc91-0310-4901-8518-e86c705ebbd6" providerId="ADAL" clId="{289F64AF-0AA4-47A6-8069-0B1D64FC8B4F}" dt="2024-07-08T22:36:54.328" v="3277" actId="47"/>
        <pc:sldMkLst>
          <pc:docMk/>
          <pc:sldMk cId="1255962390" sldId="2147482716"/>
        </pc:sldMkLst>
        <pc:spChg chg="del">
          <ac:chgData name="Camila Valbuena" userId="96dddc91-0310-4901-8518-e86c705ebbd6" providerId="ADAL" clId="{289F64AF-0AA4-47A6-8069-0B1D64FC8B4F}" dt="2024-07-08T22:35:45.458" v="3264" actId="478"/>
          <ac:spMkLst>
            <pc:docMk/>
            <pc:sldMk cId="1255962390" sldId="2147482716"/>
            <ac:spMk id="2" creationId="{B256F644-BB7D-85E9-2AFA-ECD0AE9F4120}"/>
          </ac:spMkLst>
        </pc:spChg>
        <pc:spChg chg="del">
          <ac:chgData name="Camila Valbuena" userId="96dddc91-0310-4901-8518-e86c705ebbd6" providerId="ADAL" clId="{289F64AF-0AA4-47A6-8069-0B1D64FC8B4F}" dt="2024-07-08T22:35:45.458" v="3264" actId="478"/>
          <ac:spMkLst>
            <pc:docMk/>
            <pc:sldMk cId="1255962390" sldId="2147482716"/>
            <ac:spMk id="4" creationId="{ADFAE747-B929-7AAA-3720-280AF877A8D2}"/>
          </ac:spMkLst>
        </pc:spChg>
        <pc:spChg chg="add mod">
          <ac:chgData name="Camila Valbuena" userId="96dddc91-0310-4901-8518-e86c705ebbd6" providerId="ADAL" clId="{289F64AF-0AA4-47A6-8069-0B1D64FC8B4F}" dt="2024-07-08T22:35:45.458" v="3264" actId="478"/>
          <ac:spMkLst>
            <pc:docMk/>
            <pc:sldMk cId="1255962390" sldId="2147482716"/>
            <ac:spMk id="5" creationId="{9FE0CF46-A1C7-F2CB-DEE3-08A185B11CE3}"/>
          </ac:spMkLst>
        </pc:spChg>
        <pc:spChg chg="del">
          <ac:chgData name="Camila Valbuena" userId="96dddc91-0310-4901-8518-e86c705ebbd6" providerId="ADAL" clId="{289F64AF-0AA4-47A6-8069-0B1D64FC8B4F}" dt="2024-07-08T22:35:45.458" v="3264" actId="478"/>
          <ac:spMkLst>
            <pc:docMk/>
            <pc:sldMk cId="1255962390" sldId="2147482716"/>
            <ac:spMk id="6" creationId="{AF646764-3370-F124-2083-D12E335AD304}"/>
          </ac:spMkLst>
        </pc:spChg>
      </pc:sldChg>
      <pc:sldChg chg="addSp delSp modSp add mod ord">
        <pc:chgData name="Camila Valbuena" userId="96dddc91-0310-4901-8518-e86c705ebbd6" providerId="ADAL" clId="{289F64AF-0AA4-47A6-8069-0B1D64FC8B4F}" dt="2024-07-09T00:03:46.893" v="5551" actId="20577"/>
        <pc:sldMkLst>
          <pc:docMk/>
          <pc:sldMk cId="1328711185" sldId="2147482717"/>
        </pc:sldMkLst>
        <pc:spChg chg="add mod">
          <ac:chgData name="Camila Valbuena" userId="96dddc91-0310-4901-8518-e86c705ebbd6" providerId="ADAL" clId="{289F64AF-0AA4-47A6-8069-0B1D64FC8B4F}" dt="2024-07-08T22:36:27.772" v="3271" actId="1076"/>
          <ac:spMkLst>
            <pc:docMk/>
            <pc:sldMk cId="1328711185" sldId="2147482717"/>
            <ac:spMk id="2" creationId="{CEE1F01A-436A-C5CB-1715-684C5D7D64FB}"/>
          </ac:spMkLst>
        </pc:spChg>
        <pc:spChg chg="del">
          <ac:chgData name="Camila Valbuena" userId="96dddc91-0310-4901-8518-e86c705ebbd6" providerId="ADAL" clId="{289F64AF-0AA4-47A6-8069-0B1D64FC8B4F}" dt="2024-07-08T22:36:00.271" v="3268" actId="478"/>
          <ac:spMkLst>
            <pc:docMk/>
            <pc:sldMk cId="1328711185" sldId="2147482717"/>
            <ac:spMk id="3" creationId="{0BD7F545-5B5F-CED1-A765-27595D933031}"/>
          </ac:spMkLst>
        </pc:spChg>
        <pc:spChg chg="add mod">
          <ac:chgData name="Camila Valbuena" userId="96dddc91-0310-4901-8518-e86c705ebbd6" providerId="ADAL" clId="{289F64AF-0AA4-47A6-8069-0B1D64FC8B4F}" dt="2024-07-08T22:36:17.045" v="3269"/>
          <ac:spMkLst>
            <pc:docMk/>
            <pc:sldMk cId="1328711185" sldId="2147482717"/>
            <ac:spMk id="4" creationId="{9AB5D1DA-9819-1C85-E1C8-73115941483C}"/>
          </ac:spMkLst>
        </pc:spChg>
        <pc:spChg chg="del">
          <ac:chgData name="Camila Valbuena" userId="96dddc91-0310-4901-8518-e86c705ebbd6" providerId="ADAL" clId="{289F64AF-0AA4-47A6-8069-0B1D64FC8B4F}" dt="2024-07-08T22:36:00.271" v="3268" actId="478"/>
          <ac:spMkLst>
            <pc:docMk/>
            <pc:sldMk cId="1328711185" sldId="2147482717"/>
            <ac:spMk id="6" creationId="{CFF74FEB-7503-EAD6-247C-6FFFE36BD512}"/>
          </ac:spMkLst>
        </pc:spChg>
        <pc:spChg chg="add del mod">
          <ac:chgData name="Camila Valbuena" userId="96dddc91-0310-4901-8518-e86c705ebbd6" providerId="ADAL" clId="{289F64AF-0AA4-47A6-8069-0B1D64FC8B4F}" dt="2024-07-08T22:36:24.384" v="3270" actId="478"/>
          <ac:spMkLst>
            <pc:docMk/>
            <pc:sldMk cId="1328711185" sldId="2147482717"/>
            <ac:spMk id="7" creationId="{B2B62A46-6067-108E-3367-A92862F5D4D9}"/>
          </ac:spMkLst>
        </pc:spChg>
        <pc:spChg chg="add mod">
          <ac:chgData name="Camila Valbuena" userId="96dddc91-0310-4901-8518-e86c705ebbd6" providerId="ADAL" clId="{289F64AF-0AA4-47A6-8069-0B1D64FC8B4F}" dt="2024-07-08T22:36:35.711" v="3272" actId="207"/>
          <ac:spMkLst>
            <pc:docMk/>
            <pc:sldMk cId="1328711185" sldId="2147482717"/>
            <ac:spMk id="8" creationId="{3E4AC76F-5938-4B8F-B4C3-A8B99125BAEA}"/>
          </ac:spMkLst>
        </pc:spChg>
        <pc:spChg chg="del">
          <ac:chgData name="Camila Valbuena" userId="96dddc91-0310-4901-8518-e86c705ebbd6" providerId="ADAL" clId="{289F64AF-0AA4-47A6-8069-0B1D64FC8B4F}" dt="2024-07-08T22:36:00.271" v="3268" actId="478"/>
          <ac:spMkLst>
            <pc:docMk/>
            <pc:sldMk cId="1328711185" sldId="2147482717"/>
            <ac:spMk id="10" creationId="{9EEECD9C-C60D-D8EA-2F6E-06C82B542206}"/>
          </ac:spMkLst>
        </pc:spChg>
        <pc:spChg chg="del">
          <ac:chgData name="Camila Valbuena" userId="96dddc91-0310-4901-8518-e86c705ebbd6" providerId="ADAL" clId="{289F64AF-0AA4-47A6-8069-0B1D64FC8B4F}" dt="2024-07-08T22:36:00.271" v="3268" actId="478"/>
          <ac:spMkLst>
            <pc:docMk/>
            <pc:sldMk cId="1328711185" sldId="2147482717"/>
            <ac:spMk id="11" creationId="{7B9BB310-EC9A-2E92-06B2-EA4204425474}"/>
          </ac:spMkLst>
        </pc:spChg>
        <pc:spChg chg="del">
          <ac:chgData name="Camila Valbuena" userId="96dddc91-0310-4901-8518-e86c705ebbd6" providerId="ADAL" clId="{289F64AF-0AA4-47A6-8069-0B1D64FC8B4F}" dt="2024-07-08T22:36:00.271" v="3268" actId="478"/>
          <ac:spMkLst>
            <pc:docMk/>
            <pc:sldMk cId="1328711185" sldId="2147482717"/>
            <ac:spMk id="13" creationId="{9297222A-0412-AB16-07FD-64D5A5AD0009}"/>
          </ac:spMkLst>
        </pc:spChg>
        <pc:spChg chg="del">
          <ac:chgData name="Camila Valbuena" userId="96dddc91-0310-4901-8518-e86c705ebbd6" providerId="ADAL" clId="{289F64AF-0AA4-47A6-8069-0B1D64FC8B4F}" dt="2024-07-08T22:36:00.271" v="3268" actId="478"/>
          <ac:spMkLst>
            <pc:docMk/>
            <pc:sldMk cId="1328711185" sldId="2147482717"/>
            <ac:spMk id="14" creationId="{FD638726-E61C-DC31-9A9B-45A79A781434}"/>
          </ac:spMkLst>
        </pc:spChg>
        <pc:spChg chg="del">
          <ac:chgData name="Camila Valbuena" userId="96dddc91-0310-4901-8518-e86c705ebbd6" providerId="ADAL" clId="{289F64AF-0AA4-47A6-8069-0B1D64FC8B4F}" dt="2024-07-08T22:36:00.271" v="3268" actId="478"/>
          <ac:spMkLst>
            <pc:docMk/>
            <pc:sldMk cId="1328711185" sldId="2147482717"/>
            <ac:spMk id="15" creationId="{3BA2830A-3DC6-85BA-19D2-95099172E182}"/>
          </ac:spMkLst>
        </pc:spChg>
        <pc:spChg chg="del">
          <ac:chgData name="Camila Valbuena" userId="96dddc91-0310-4901-8518-e86c705ebbd6" providerId="ADAL" clId="{289F64AF-0AA4-47A6-8069-0B1D64FC8B4F}" dt="2024-07-08T22:36:00.271" v="3268" actId="478"/>
          <ac:spMkLst>
            <pc:docMk/>
            <pc:sldMk cId="1328711185" sldId="2147482717"/>
            <ac:spMk id="16" creationId="{94BD07E4-7213-ECD7-F4A9-EF73F596A752}"/>
          </ac:spMkLst>
        </pc:spChg>
        <pc:spChg chg="del">
          <ac:chgData name="Camila Valbuena" userId="96dddc91-0310-4901-8518-e86c705ebbd6" providerId="ADAL" clId="{289F64AF-0AA4-47A6-8069-0B1D64FC8B4F}" dt="2024-07-08T22:36:00.271" v="3268" actId="478"/>
          <ac:spMkLst>
            <pc:docMk/>
            <pc:sldMk cId="1328711185" sldId="2147482717"/>
            <ac:spMk id="18" creationId="{4B589DF1-B53E-97DF-5803-CEDD7CE540D0}"/>
          </ac:spMkLst>
        </pc:spChg>
        <pc:spChg chg="mod">
          <ac:chgData name="Camila Valbuena" userId="96dddc91-0310-4901-8518-e86c705ebbd6" providerId="ADAL" clId="{289F64AF-0AA4-47A6-8069-0B1D64FC8B4F}" dt="2024-07-09T00:03:46.893" v="5551" actId="20577"/>
          <ac:spMkLst>
            <pc:docMk/>
            <pc:sldMk cId="1328711185" sldId="2147482717"/>
            <ac:spMk id="21" creationId="{F7851A6A-B8AD-F4F1-2396-67EDBFD7A6DB}"/>
          </ac:spMkLst>
        </pc:spChg>
        <pc:spChg chg="del">
          <ac:chgData name="Camila Valbuena" userId="96dddc91-0310-4901-8518-e86c705ebbd6" providerId="ADAL" clId="{289F64AF-0AA4-47A6-8069-0B1D64FC8B4F}" dt="2024-07-08T22:36:00.271" v="3268" actId="478"/>
          <ac:spMkLst>
            <pc:docMk/>
            <pc:sldMk cId="1328711185" sldId="2147482717"/>
            <ac:spMk id="52" creationId="{C9515763-40B5-0DBE-B16E-FA0AFD0185B8}"/>
          </ac:spMkLst>
        </pc:spChg>
        <pc:spChg chg="del">
          <ac:chgData name="Camila Valbuena" userId="96dddc91-0310-4901-8518-e86c705ebbd6" providerId="ADAL" clId="{289F64AF-0AA4-47A6-8069-0B1D64FC8B4F}" dt="2024-07-08T22:36:00.271" v="3268" actId="478"/>
          <ac:spMkLst>
            <pc:docMk/>
            <pc:sldMk cId="1328711185" sldId="2147482717"/>
            <ac:spMk id="54" creationId="{45944AC8-71EE-3EE6-B3F7-6480135ADDED}"/>
          </ac:spMkLst>
        </pc:spChg>
        <pc:picChg chg="del">
          <ac:chgData name="Camila Valbuena" userId="96dddc91-0310-4901-8518-e86c705ebbd6" providerId="ADAL" clId="{289F64AF-0AA4-47A6-8069-0B1D64FC8B4F}" dt="2024-07-08T22:36:00.271" v="3268" actId="478"/>
          <ac:picMkLst>
            <pc:docMk/>
            <pc:sldMk cId="1328711185" sldId="2147482717"/>
            <ac:picMk id="17" creationId="{A04FD2DC-7F21-6C38-C59F-3BDE2B5DEF9A}"/>
          </ac:picMkLst>
        </pc:picChg>
        <pc:picChg chg="del">
          <ac:chgData name="Camila Valbuena" userId="96dddc91-0310-4901-8518-e86c705ebbd6" providerId="ADAL" clId="{289F64AF-0AA4-47A6-8069-0B1D64FC8B4F}" dt="2024-07-08T22:36:00.271" v="3268" actId="478"/>
          <ac:picMkLst>
            <pc:docMk/>
            <pc:sldMk cId="1328711185" sldId="2147482717"/>
            <ac:picMk id="19" creationId="{6B214504-A690-E080-0097-B705ACA61D20}"/>
          </ac:picMkLst>
        </pc:picChg>
      </pc:sldChg>
      <pc:sldChg chg="addSp delSp modSp add mod ord modAnim">
        <pc:chgData name="Camila Valbuena" userId="96dddc91-0310-4901-8518-e86c705ebbd6" providerId="ADAL" clId="{289F64AF-0AA4-47A6-8069-0B1D64FC8B4F}" dt="2024-07-08T22:47:28.072" v="3648" actId="20577"/>
        <pc:sldMkLst>
          <pc:docMk/>
          <pc:sldMk cId="1676002536" sldId="2147482718"/>
        </pc:sldMkLst>
        <pc:spChg chg="del">
          <ac:chgData name="Camila Valbuena" userId="96dddc91-0310-4901-8518-e86c705ebbd6" providerId="ADAL" clId="{289F64AF-0AA4-47A6-8069-0B1D64FC8B4F}" dt="2024-07-08T22:36:58.569" v="3278" actId="478"/>
          <ac:spMkLst>
            <pc:docMk/>
            <pc:sldMk cId="1676002536" sldId="2147482718"/>
            <ac:spMk id="2" creationId="{CEE1F01A-436A-C5CB-1715-684C5D7D64FB}"/>
          </ac:spMkLst>
        </pc:spChg>
        <pc:spChg chg="add mod">
          <ac:chgData name="Camila Valbuena" userId="96dddc91-0310-4901-8518-e86c705ebbd6" providerId="ADAL" clId="{289F64AF-0AA4-47A6-8069-0B1D64FC8B4F}" dt="2024-07-08T22:45:54.565" v="3602" actId="404"/>
          <ac:spMkLst>
            <pc:docMk/>
            <pc:sldMk cId="1676002536" sldId="2147482718"/>
            <ac:spMk id="3" creationId="{3F057E8E-4268-CA69-0A60-64DC96BA731D}"/>
          </ac:spMkLst>
        </pc:spChg>
        <pc:spChg chg="del">
          <ac:chgData name="Camila Valbuena" userId="96dddc91-0310-4901-8518-e86c705ebbd6" providerId="ADAL" clId="{289F64AF-0AA4-47A6-8069-0B1D64FC8B4F}" dt="2024-07-08T22:36:58.569" v="3278" actId="478"/>
          <ac:spMkLst>
            <pc:docMk/>
            <pc:sldMk cId="1676002536" sldId="2147482718"/>
            <ac:spMk id="4" creationId="{9AB5D1DA-9819-1C85-E1C8-73115941483C}"/>
          </ac:spMkLst>
        </pc:spChg>
        <pc:spChg chg="add mod">
          <ac:chgData name="Camila Valbuena" userId="96dddc91-0310-4901-8518-e86c705ebbd6" providerId="ADAL" clId="{289F64AF-0AA4-47A6-8069-0B1D64FC8B4F}" dt="2024-07-08T22:38:50.766" v="3291"/>
          <ac:spMkLst>
            <pc:docMk/>
            <pc:sldMk cId="1676002536" sldId="2147482718"/>
            <ac:spMk id="12" creationId="{DF12018A-A68C-D02D-A27F-B5B37CFEF23C}"/>
          </ac:spMkLst>
        </pc:spChg>
        <pc:spChg chg="add mod">
          <ac:chgData name="Camila Valbuena" userId="96dddc91-0310-4901-8518-e86c705ebbd6" providerId="ADAL" clId="{289F64AF-0AA4-47A6-8069-0B1D64FC8B4F}" dt="2024-07-08T22:38:50.766" v="3291"/>
          <ac:spMkLst>
            <pc:docMk/>
            <pc:sldMk cId="1676002536" sldId="2147482718"/>
            <ac:spMk id="13" creationId="{D09BF870-2998-D6F2-1E34-D59A20ADE993}"/>
          </ac:spMkLst>
        </pc:spChg>
        <pc:spChg chg="add mod">
          <ac:chgData name="Camila Valbuena" userId="96dddc91-0310-4901-8518-e86c705ebbd6" providerId="ADAL" clId="{289F64AF-0AA4-47A6-8069-0B1D64FC8B4F}" dt="2024-07-08T22:38:50.766" v="3291"/>
          <ac:spMkLst>
            <pc:docMk/>
            <pc:sldMk cId="1676002536" sldId="2147482718"/>
            <ac:spMk id="14" creationId="{686F3ADB-3ECC-04B6-FFA1-166D42BC65C4}"/>
          </ac:spMkLst>
        </pc:spChg>
        <pc:spChg chg="add mod">
          <ac:chgData name="Camila Valbuena" userId="96dddc91-0310-4901-8518-e86c705ebbd6" providerId="ADAL" clId="{289F64AF-0AA4-47A6-8069-0B1D64FC8B4F}" dt="2024-07-08T22:38:50.766" v="3291"/>
          <ac:spMkLst>
            <pc:docMk/>
            <pc:sldMk cId="1676002536" sldId="2147482718"/>
            <ac:spMk id="15" creationId="{96E14D20-B505-F65A-8517-9E154CFE5C59}"/>
          </ac:spMkLst>
        </pc:spChg>
        <pc:spChg chg="add mod">
          <ac:chgData name="Camila Valbuena" userId="96dddc91-0310-4901-8518-e86c705ebbd6" providerId="ADAL" clId="{289F64AF-0AA4-47A6-8069-0B1D64FC8B4F}" dt="2024-07-08T22:38:50.766" v="3291"/>
          <ac:spMkLst>
            <pc:docMk/>
            <pc:sldMk cId="1676002536" sldId="2147482718"/>
            <ac:spMk id="16" creationId="{A5668952-0C82-05A8-A209-C0371A6A9DE3}"/>
          </ac:spMkLst>
        </pc:spChg>
        <pc:spChg chg="add mod">
          <ac:chgData name="Camila Valbuena" userId="96dddc91-0310-4901-8518-e86c705ebbd6" providerId="ADAL" clId="{289F64AF-0AA4-47A6-8069-0B1D64FC8B4F}" dt="2024-07-08T22:38:50.766" v="3291"/>
          <ac:spMkLst>
            <pc:docMk/>
            <pc:sldMk cId="1676002536" sldId="2147482718"/>
            <ac:spMk id="17" creationId="{13BE8051-0844-9178-5246-CFB4B1B7011B}"/>
          </ac:spMkLst>
        </pc:spChg>
        <pc:spChg chg="add mod">
          <ac:chgData name="Camila Valbuena" userId="96dddc91-0310-4901-8518-e86c705ebbd6" providerId="ADAL" clId="{289F64AF-0AA4-47A6-8069-0B1D64FC8B4F}" dt="2024-07-08T22:38:50.766" v="3291"/>
          <ac:spMkLst>
            <pc:docMk/>
            <pc:sldMk cId="1676002536" sldId="2147482718"/>
            <ac:spMk id="18" creationId="{6327B110-456B-1AEB-A269-90884DC504D5}"/>
          </ac:spMkLst>
        </pc:spChg>
        <pc:spChg chg="add mod">
          <ac:chgData name="Camila Valbuena" userId="96dddc91-0310-4901-8518-e86c705ebbd6" providerId="ADAL" clId="{289F64AF-0AA4-47A6-8069-0B1D64FC8B4F}" dt="2024-07-08T22:38:50.766" v="3291"/>
          <ac:spMkLst>
            <pc:docMk/>
            <pc:sldMk cId="1676002536" sldId="2147482718"/>
            <ac:spMk id="19" creationId="{E3C8108F-EE5A-AB63-E285-240074DF7EED}"/>
          </ac:spMkLst>
        </pc:spChg>
        <pc:spChg chg="add mod">
          <ac:chgData name="Camila Valbuena" userId="96dddc91-0310-4901-8518-e86c705ebbd6" providerId="ADAL" clId="{289F64AF-0AA4-47A6-8069-0B1D64FC8B4F}" dt="2024-07-08T22:38:50.766" v="3291"/>
          <ac:spMkLst>
            <pc:docMk/>
            <pc:sldMk cId="1676002536" sldId="2147482718"/>
            <ac:spMk id="20" creationId="{3893AF92-6B77-9779-39D8-577896534813}"/>
          </ac:spMkLst>
        </pc:spChg>
        <pc:spChg chg="mod">
          <ac:chgData name="Camila Valbuena" userId="96dddc91-0310-4901-8518-e86c705ebbd6" providerId="ADAL" clId="{289F64AF-0AA4-47A6-8069-0B1D64FC8B4F}" dt="2024-07-08T22:46:22.598" v="3628" actId="6549"/>
          <ac:spMkLst>
            <pc:docMk/>
            <pc:sldMk cId="1676002536" sldId="2147482718"/>
            <ac:spMk id="21" creationId="{F7851A6A-B8AD-F4F1-2396-67EDBFD7A6DB}"/>
          </ac:spMkLst>
        </pc:spChg>
        <pc:spChg chg="add mod">
          <ac:chgData name="Camila Valbuena" userId="96dddc91-0310-4901-8518-e86c705ebbd6" providerId="ADAL" clId="{289F64AF-0AA4-47A6-8069-0B1D64FC8B4F}" dt="2024-07-08T22:38:50.766" v="3291"/>
          <ac:spMkLst>
            <pc:docMk/>
            <pc:sldMk cId="1676002536" sldId="2147482718"/>
            <ac:spMk id="22" creationId="{C9DE946A-2394-F190-A3AD-F52BC2B88365}"/>
          </ac:spMkLst>
        </pc:spChg>
        <pc:spChg chg="add mod">
          <ac:chgData name="Camila Valbuena" userId="96dddc91-0310-4901-8518-e86c705ebbd6" providerId="ADAL" clId="{289F64AF-0AA4-47A6-8069-0B1D64FC8B4F}" dt="2024-07-08T22:38:50.766" v="3291"/>
          <ac:spMkLst>
            <pc:docMk/>
            <pc:sldMk cId="1676002536" sldId="2147482718"/>
            <ac:spMk id="27" creationId="{AFBA52E9-69F7-4D25-B6D2-B2A07685A029}"/>
          </ac:spMkLst>
        </pc:spChg>
        <pc:spChg chg="add mod">
          <ac:chgData name="Camila Valbuena" userId="96dddc91-0310-4901-8518-e86c705ebbd6" providerId="ADAL" clId="{289F64AF-0AA4-47A6-8069-0B1D64FC8B4F}" dt="2024-07-08T22:38:50.766" v="3291"/>
          <ac:spMkLst>
            <pc:docMk/>
            <pc:sldMk cId="1676002536" sldId="2147482718"/>
            <ac:spMk id="28" creationId="{E8309F4F-614A-F340-435A-0B28D64F467E}"/>
          </ac:spMkLst>
        </pc:spChg>
        <pc:spChg chg="add mod">
          <ac:chgData name="Camila Valbuena" userId="96dddc91-0310-4901-8518-e86c705ebbd6" providerId="ADAL" clId="{289F64AF-0AA4-47A6-8069-0B1D64FC8B4F}" dt="2024-07-08T22:38:50.766" v="3291"/>
          <ac:spMkLst>
            <pc:docMk/>
            <pc:sldMk cId="1676002536" sldId="2147482718"/>
            <ac:spMk id="29" creationId="{B89D40CE-ABA6-B50F-5ECF-8238D6E2AE2A}"/>
          </ac:spMkLst>
        </pc:spChg>
        <pc:spChg chg="add mod">
          <ac:chgData name="Camila Valbuena" userId="96dddc91-0310-4901-8518-e86c705ebbd6" providerId="ADAL" clId="{289F64AF-0AA4-47A6-8069-0B1D64FC8B4F}" dt="2024-07-08T22:38:50.766" v="3291"/>
          <ac:spMkLst>
            <pc:docMk/>
            <pc:sldMk cId="1676002536" sldId="2147482718"/>
            <ac:spMk id="30" creationId="{D967BBC9-87DE-68CC-A644-AC5FDAA6CB03}"/>
          </ac:spMkLst>
        </pc:spChg>
        <pc:spChg chg="add mod">
          <ac:chgData name="Camila Valbuena" userId="96dddc91-0310-4901-8518-e86c705ebbd6" providerId="ADAL" clId="{289F64AF-0AA4-47A6-8069-0B1D64FC8B4F}" dt="2024-07-08T22:38:50.766" v="3291"/>
          <ac:spMkLst>
            <pc:docMk/>
            <pc:sldMk cId="1676002536" sldId="2147482718"/>
            <ac:spMk id="31" creationId="{CB584CF2-BAE7-4EF4-72FA-279551B932CE}"/>
          </ac:spMkLst>
        </pc:spChg>
        <pc:spChg chg="add mod">
          <ac:chgData name="Camila Valbuena" userId="96dddc91-0310-4901-8518-e86c705ebbd6" providerId="ADAL" clId="{289F64AF-0AA4-47A6-8069-0B1D64FC8B4F}" dt="2024-07-08T22:38:50.766" v="3291"/>
          <ac:spMkLst>
            <pc:docMk/>
            <pc:sldMk cId="1676002536" sldId="2147482718"/>
            <ac:spMk id="32" creationId="{04421655-741D-A302-9638-37DCFFD2B991}"/>
          </ac:spMkLst>
        </pc:spChg>
        <pc:spChg chg="add mod">
          <ac:chgData name="Camila Valbuena" userId="96dddc91-0310-4901-8518-e86c705ebbd6" providerId="ADAL" clId="{289F64AF-0AA4-47A6-8069-0B1D64FC8B4F}" dt="2024-07-08T22:46:18.562" v="3627" actId="1035"/>
          <ac:spMkLst>
            <pc:docMk/>
            <pc:sldMk cId="1676002536" sldId="2147482718"/>
            <ac:spMk id="40" creationId="{C57BFCAF-92E0-3E4F-5CEE-70A9DBF6C04A}"/>
          </ac:spMkLst>
        </pc:spChg>
        <pc:spChg chg="add mod">
          <ac:chgData name="Camila Valbuena" userId="96dddc91-0310-4901-8518-e86c705ebbd6" providerId="ADAL" clId="{289F64AF-0AA4-47A6-8069-0B1D64FC8B4F}" dt="2024-07-08T22:46:18.562" v="3627" actId="1035"/>
          <ac:spMkLst>
            <pc:docMk/>
            <pc:sldMk cId="1676002536" sldId="2147482718"/>
            <ac:spMk id="41" creationId="{5A86F2E6-57D4-2303-F9A8-043EAD5B922F}"/>
          </ac:spMkLst>
        </pc:spChg>
        <pc:spChg chg="add mod">
          <ac:chgData name="Camila Valbuena" userId="96dddc91-0310-4901-8518-e86c705ebbd6" providerId="ADAL" clId="{289F64AF-0AA4-47A6-8069-0B1D64FC8B4F}" dt="2024-07-08T22:46:18.562" v="3627" actId="1035"/>
          <ac:spMkLst>
            <pc:docMk/>
            <pc:sldMk cId="1676002536" sldId="2147482718"/>
            <ac:spMk id="42" creationId="{3DE63C5B-1195-5E92-134A-016DC6F076F8}"/>
          </ac:spMkLst>
        </pc:spChg>
        <pc:spChg chg="add mod">
          <ac:chgData name="Camila Valbuena" userId="96dddc91-0310-4901-8518-e86c705ebbd6" providerId="ADAL" clId="{289F64AF-0AA4-47A6-8069-0B1D64FC8B4F}" dt="2024-07-08T22:46:18.562" v="3627" actId="1035"/>
          <ac:spMkLst>
            <pc:docMk/>
            <pc:sldMk cId="1676002536" sldId="2147482718"/>
            <ac:spMk id="43" creationId="{478DB20A-C9F6-CBF9-ACE7-48ED2D23CB54}"/>
          </ac:spMkLst>
        </pc:spChg>
        <pc:spChg chg="add mod">
          <ac:chgData name="Camila Valbuena" userId="96dddc91-0310-4901-8518-e86c705ebbd6" providerId="ADAL" clId="{289F64AF-0AA4-47A6-8069-0B1D64FC8B4F}" dt="2024-07-08T22:46:18.562" v="3627" actId="1035"/>
          <ac:spMkLst>
            <pc:docMk/>
            <pc:sldMk cId="1676002536" sldId="2147482718"/>
            <ac:spMk id="44" creationId="{1049C68B-0A14-AF6F-9C99-5678BAB0AA29}"/>
          </ac:spMkLst>
        </pc:spChg>
        <pc:spChg chg="add mod">
          <ac:chgData name="Camila Valbuena" userId="96dddc91-0310-4901-8518-e86c705ebbd6" providerId="ADAL" clId="{289F64AF-0AA4-47A6-8069-0B1D64FC8B4F}" dt="2024-07-08T22:46:18.562" v="3627" actId="1035"/>
          <ac:spMkLst>
            <pc:docMk/>
            <pc:sldMk cId="1676002536" sldId="2147482718"/>
            <ac:spMk id="45" creationId="{2508A0D4-F1D8-B815-720D-020ABCC4C6E2}"/>
          </ac:spMkLst>
        </pc:spChg>
        <pc:spChg chg="add mod">
          <ac:chgData name="Camila Valbuena" userId="96dddc91-0310-4901-8518-e86c705ebbd6" providerId="ADAL" clId="{289F64AF-0AA4-47A6-8069-0B1D64FC8B4F}" dt="2024-07-08T22:46:18.562" v="3627" actId="1035"/>
          <ac:spMkLst>
            <pc:docMk/>
            <pc:sldMk cId="1676002536" sldId="2147482718"/>
            <ac:spMk id="46" creationId="{A4866096-12AC-3658-517C-95E5A9F6D3C7}"/>
          </ac:spMkLst>
        </pc:spChg>
        <pc:spChg chg="add mod">
          <ac:chgData name="Camila Valbuena" userId="96dddc91-0310-4901-8518-e86c705ebbd6" providerId="ADAL" clId="{289F64AF-0AA4-47A6-8069-0B1D64FC8B4F}" dt="2024-07-08T22:46:18.562" v="3627" actId="1035"/>
          <ac:spMkLst>
            <pc:docMk/>
            <pc:sldMk cId="1676002536" sldId="2147482718"/>
            <ac:spMk id="47" creationId="{E3C5426C-7EBF-3C7B-1C73-D54E9ADAB764}"/>
          </ac:spMkLst>
        </pc:spChg>
        <pc:spChg chg="add mod">
          <ac:chgData name="Camila Valbuena" userId="96dddc91-0310-4901-8518-e86c705ebbd6" providerId="ADAL" clId="{289F64AF-0AA4-47A6-8069-0B1D64FC8B4F}" dt="2024-07-08T22:46:18.562" v="3627" actId="1035"/>
          <ac:spMkLst>
            <pc:docMk/>
            <pc:sldMk cId="1676002536" sldId="2147482718"/>
            <ac:spMk id="48" creationId="{EA01C91F-7789-44AE-B474-52EFB20B8313}"/>
          </ac:spMkLst>
        </pc:spChg>
        <pc:spChg chg="add mod">
          <ac:chgData name="Camila Valbuena" userId="96dddc91-0310-4901-8518-e86c705ebbd6" providerId="ADAL" clId="{289F64AF-0AA4-47A6-8069-0B1D64FC8B4F}" dt="2024-07-08T22:46:18.562" v="3627" actId="1035"/>
          <ac:spMkLst>
            <pc:docMk/>
            <pc:sldMk cId="1676002536" sldId="2147482718"/>
            <ac:spMk id="49" creationId="{065D5267-2DB8-E5FC-6367-B7AD172A6E80}"/>
          </ac:spMkLst>
        </pc:spChg>
        <pc:spChg chg="add mod">
          <ac:chgData name="Camila Valbuena" userId="96dddc91-0310-4901-8518-e86c705ebbd6" providerId="ADAL" clId="{289F64AF-0AA4-47A6-8069-0B1D64FC8B4F}" dt="2024-07-08T22:46:18.562" v="3627" actId="1035"/>
          <ac:spMkLst>
            <pc:docMk/>
            <pc:sldMk cId="1676002536" sldId="2147482718"/>
            <ac:spMk id="54" creationId="{3F547FB5-849B-4694-F0B3-B21A1796E4CD}"/>
          </ac:spMkLst>
        </pc:spChg>
        <pc:spChg chg="add mod">
          <ac:chgData name="Camila Valbuena" userId="96dddc91-0310-4901-8518-e86c705ebbd6" providerId="ADAL" clId="{289F64AF-0AA4-47A6-8069-0B1D64FC8B4F}" dt="2024-07-08T22:46:18.562" v="3627" actId="1035"/>
          <ac:spMkLst>
            <pc:docMk/>
            <pc:sldMk cId="1676002536" sldId="2147482718"/>
            <ac:spMk id="55" creationId="{6C2EDDBF-592E-63F0-6EE5-DCCE741AE5E4}"/>
          </ac:spMkLst>
        </pc:spChg>
        <pc:spChg chg="add mod">
          <ac:chgData name="Camila Valbuena" userId="96dddc91-0310-4901-8518-e86c705ebbd6" providerId="ADAL" clId="{289F64AF-0AA4-47A6-8069-0B1D64FC8B4F}" dt="2024-07-08T22:46:18.562" v="3627" actId="1035"/>
          <ac:spMkLst>
            <pc:docMk/>
            <pc:sldMk cId="1676002536" sldId="2147482718"/>
            <ac:spMk id="56" creationId="{50564E91-0FB6-4B97-6B90-35DAFBB253A2}"/>
          </ac:spMkLst>
        </pc:spChg>
        <pc:spChg chg="add mod">
          <ac:chgData name="Camila Valbuena" userId="96dddc91-0310-4901-8518-e86c705ebbd6" providerId="ADAL" clId="{289F64AF-0AA4-47A6-8069-0B1D64FC8B4F}" dt="2024-07-08T22:46:18.562" v="3627" actId="1035"/>
          <ac:spMkLst>
            <pc:docMk/>
            <pc:sldMk cId="1676002536" sldId="2147482718"/>
            <ac:spMk id="57" creationId="{11597A19-67A0-9E12-E77A-14295187505E}"/>
          </ac:spMkLst>
        </pc:spChg>
        <pc:spChg chg="add mod">
          <ac:chgData name="Camila Valbuena" userId="96dddc91-0310-4901-8518-e86c705ebbd6" providerId="ADAL" clId="{289F64AF-0AA4-47A6-8069-0B1D64FC8B4F}" dt="2024-07-08T22:46:18.562" v="3627" actId="1035"/>
          <ac:spMkLst>
            <pc:docMk/>
            <pc:sldMk cId="1676002536" sldId="2147482718"/>
            <ac:spMk id="58" creationId="{5DBA399E-45B8-9A2F-F806-841291727212}"/>
          </ac:spMkLst>
        </pc:spChg>
        <pc:spChg chg="add mod">
          <ac:chgData name="Camila Valbuena" userId="96dddc91-0310-4901-8518-e86c705ebbd6" providerId="ADAL" clId="{289F64AF-0AA4-47A6-8069-0B1D64FC8B4F}" dt="2024-07-08T22:46:18.562" v="3627" actId="1035"/>
          <ac:spMkLst>
            <pc:docMk/>
            <pc:sldMk cId="1676002536" sldId="2147482718"/>
            <ac:spMk id="59" creationId="{CD8748E1-B375-9BCC-0A35-2231E205C3FA}"/>
          </ac:spMkLst>
        </pc:spChg>
        <pc:spChg chg="add mod">
          <ac:chgData name="Camila Valbuena" userId="96dddc91-0310-4901-8518-e86c705ebbd6" providerId="ADAL" clId="{289F64AF-0AA4-47A6-8069-0B1D64FC8B4F}" dt="2024-07-08T22:46:18.562" v="3627" actId="1035"/>
          <ac:spMkLst>
            <pc:docMk/>
            <pc:sldMk cId="1676002536" sldId="2147482718"/>
            <ac:spMk id="62" creationId="{50531CB9-CB93-823E-B480-E5C8D279ED81}"/>
          </ac:spMkLst>
        </pc:spChg>
        <pc:spChg chg="add mod">
          <ac:chgData name="Camila Valbuena" userId="96dddc91-0310-4901-8518-e86c705ebbd6" providerId="ADAL" clId="{289F64AF-0AA4-47A6-8069-0B1D64FC8B4F}" dt="2024-07-08T22:46:18.562" v="3627" actId="1035"/>
          <ac:spMkLst>
            <pc:docMk/>
            <pc:sldMk cId="1676002536" sldId="2147482718"/>
            <ac:spMk id="63" creationId="{A705D512-038A-539B-08A1-3E80FF2CE05C}"/>
          </ac:spMkLst>
        </pc:spChg>
        <pc:spChg chg="add mod">
          <ac:chgData name="Camila Valbuena" userId="96dddc91-0310-4901-8518-e86c705ebbd6" providerId="ADAL" clId="{289F64AF-0AA4-47A6-8069-0B1D64FC8B4F}" dt="2024-07-08T22:46:18.562" v="3627" actId="1035"/>
          <ac:spMkLst>
            <pc:docMk/>
            <pc:sldMk cId="1676002536" sldId="2147482718"/>
            <ac:spMk id="2048" creationId="{789FF08E-C1A2-A682-D7D3-063F8167B820}"/>
          </ac:spMkLst>
        </pc:spChg>
        <pc:spChg chg="add mod">
          <ac:chgData name="Camila Valbuena" userId="96dddc91-0310-4901-8518-e86c705ebbd6" providerId="ADAL" clId="{289F64AF-0AA4-47A6-8069-0B1D64FC8B4F}" dt="2024-07-08T22:46:18.562" v="3627" actId="1035"/>
          <ac:spMkLst>
            <pc:docMk/>
            <pc:sldMk cId="1676002536" sldId="2147482718"/>
            <ac:spMk id="2049" creationId="{7924562C-11B7-B779-8FE8-DB26C607A09D}"/>
          </ac:spMkLst>
        </pc:spChg>
        <pc:spChg chg="add mod">
          <ac:chgData name="Camila Valbuena" userId="96dddc91-0310-4901-8518-e86c705ebbd6" providerId="ADAL" clId="{289F64AF-0AA4-47A6-8069-0B1D64FC8B4F}" dt="2024-07-08T22:46:18.562" v="3627" actId="1035"/>
          <ac:spMkLst>
            <pc:docMk/>
            <pc:sldMk cId="1676002536" sldId="2147482718"/>
            <ac:spMk id="2051" creationId="{7E84F4CC-55D8-0F2E-7E39-804C8086A676}"/>
          </ac:spMkLst>
        </pc:spChg>
        <pc:spChg chg="add mod">
          <ac:chgData name="Camila Valbuena" userId="96dddc91-0310-4901-8518-e86c705ebbd6" providerId="ADAL" clId="{289F64AF-0AA4-47A6-8069-0B1D64FC8B4F}" dt="2024-07-08T22:46:18.562" v="3627" actId="1035"/>
          <ac:spMkLst>
            <pc:docMk/>
            <pc:sldMk cId="1676002536" sldId="2147482718"/>
            <ac:spMk id="2052" creationId="{1F87F3CC-F5A6-3B0B-41BA-9F25BB0478A1}"/>
          </ac:spMkLst>
        </pc:spChg>
        <pc:spChg chg="add mod">
          <ac:chgData name="Camila Valbuena" userId="96dddc91-0310-4901-8518-e86c705ebbd6" providerId="ADAL" clId="{289F64AF-0AA4-47A6-8069-0B1D64FC8B4F}" dt="2024-07-08T22:46:18.562" v="3627" actId="1035"/>
          <ac:spMkLst>
            <pc:docMk/>
            <pc:sldMk cId="1676002536" sldId="2147482718"/>
            <ac:spMk id="2053" creationId="{3FAB8156-5B35-9EDE-3919-C49CFA9CAC37}"/>
          </ac:spMkLst>
        </pc:spChg>
        <pc:spChg chg="add mod">
          <ac:chgData name="Camila Valbuena" userId="96dddc91-0310-4901-8518-e86c705ebbd6" providerId="ADAL" clId="{289F64AF-0AA4-47A6-8069-0B1D64FC8B4F}" dt="2024-07-08T22:46:18.562" v="3627" actId="1035"/>
          <ac:spMkLst>
            <pc:docMk/>
            <pc:sldMk cId="1676002536" sldId="2147482718"/>
            <ac:spMk id="2057" creationId="{130C7638-7999-F001-DAB8-4BA371316C89}"/>
          </ac:spMkLst>
        </pc:spChg>
        <pc:spChg chg="add mod">
          <ac:chgData name="Camila Valbuena" userId="96dddc91-0310-4901-8518-e86c705ebbd6" providerId="ADAL" clId="{289F64AF-0AA4-47A6-8069-0B1D64FC8B4F}" dt="2024-07-08T22:46:18.562" v="3627" actId="1035"/>
          <ac:spMkLst>
            <pc:docMk/>
            <pc:sldMk cId="1676002536" sldId="2147482718"/>
            <ac:spMk id="2058" creationId="{FE341C77-7D1F-7B1D-657B-D6BC8503026E}"/>
          </ac:spMkLst>
        </pc:spChg>
        <pc:spChg chg="add mod">
          <ac:chgData name="Camila Valbuena" userId="96dddc91-0310-4901-8518-e86c705ebbd6" providerId="ADAL" clId="{289F64AF-0AA4-47A6-8069-0B1D64FC8B4F}" dt="2024-07-08T22:46:18.562" v="3627" actId="1035"/>
          <ac:spMkLst>
            <pc:docMk/>
            <pc:sldMk cId="1676002536" sldId="2147482718"/>
            <ac:spMk id="2059" creationId="{323E8E00-E950-CDC4-3645-ADCA0F49C1F2}"/>
          </ac:spMkLst>
        </pc:spChg>
        <pc:spChg chg="add mod">
          <ac:chgData name="Camila Valbuena" userId="96dddc91-0310-4901-8518-e86c705ebbd6" providerId="ADAL" clId="{289F64AF-0AA4-47A6-8069-0B1D64FC8B4F}" dt="2024-07-08T22:46:18.562" v="3627" actId="1035"/>
          <ac:spMkLst>
            <pc:docMk/>
            <pc:sldMk cId="1676002536" sldId="2147482718"/>
            <ac:spMk id="2060" creationId="{09703DC3-E055-966A-0DCE-013414CA696D}"/>
          </ac:spMkLst>
        </pc:spChg>
        <pc:spChg chg="add mod">
          <ac:chgData name="Camila Valbuena" userId="96dddc91-0310-4901-8518-e86c705ebbd6" providerId="ADAL" clId="{289F64AF-0AA4-47A6-8069-0B1D64FC8B4F}" dt="2024-07-08T22:46:18.562" v="3627" actId="1035"/>
          <ac:spMkLst>
            <pc:docMk/>
            <pc:sldMk cId="1676002536" sldId="2147482718"/>
            <ac:spMk id="2061" creationId="{B84872C5-AC69-D4B7-7A2D-B87D31D0180B}"/>
          </ac:spMkLst>
        </pc:spChg>
        <pc:spChg chg="add mod">
          <ac:chgData name="Camila Valbuena" userId="96dddc91-0310-4901-8518-e86c705ebbd6" providerId="ADAL" clId="{289F64AF-0AA4-47A6-8069-0B1D64FC8B4F}" dt="2024-07-08T22:46:18.562" v="3627" actId="1035"/>
          <ac:spMkLst>
            <pc:docMk/>
            <pc:sldMk cId="1676002536" sldId="2147482718"/>
            <ac:spMk id="2063" creationId="{F2318FCF-B075-4DD3-B60D-FDD7E77FD420}"/>
          </ac:spMkLst>
        </pc:spChg>
        <pc:spChg chg="add mod">
          <ac:chgData name="Camila Valbuena" userId="96dddc91-0310-4901-8518-e86c705ebbd6" providerId="ADAL" clId="{289F64AF-0AA4-47A6-8069-0B1D64FC8B4F}" dt="2024-07-08T22:46:18.562" v="3627" actId="1035"/>
          <ac:spMkLst>
            <pc:docMk/>
            <pc:sldMk cId="1676002536" sldId="2147482718"/>
            <ac:spMk id="2064" creationId="{E3EE183C-814A-F9E8-7C19-203DB8A9F54E}"/>
          </ac:spMkLst>
        </pc:spChg>
        <pc:spChg chg="add mod">
          <ac:chgData name="Camila Valbuena" userId="96dddc91-0310-4901-8518-e86c705ebbd6" providerId="ADAL" clId="{289F64AF-0AA4-47A6-8069-0B1D64FC8B4F}" dt="2024-07-08T22:46:18.562" v="3627" actId="1035"/>
          <ac:spMkLst>
            <pc:docMk/>
            <pc:sldMk cId="1676002536" sldId="2147482718"/>
            <ac:spMk id="2067" creationId="{94E5EF5B-2615-E3A9-F27B-030F506270A1}"/>
          </ac:spMkLst>
        </pc:spChg>
        <pc:spChg chg="add mod">
          <ac:chgData name="Camila Valbuena" userId="96dddc91-0310-4901-8518-e86c705ebbd6" providerId="ADAL" clId="{289F64AF-0AA4-47A6-8069-0B1D64FC8B4F}" dt="2024-07-08T22:46:18.562" v="3627" actId="1035"/>
          <ac:spMkLst>
            <pc:docMk/>
            <pc:sldMk cId="1676002536" sldId="2147482718"/>
            <ac:spMk id="2068" creationId="{AD18C71D-3A56-DC5C-0BF8-1ED09467FC35}"/>
          </ac:spMkLst>
        </pc:spChg>
        <pc:spChg chg="add mod">
          <ac:chgData name="Camila Valbuena" userId="96dddc91-0310-4901-8518-e86c705ebbd6" providerId="ADAL" clId="{289F64AF-0AA4-47A6-8069-0B1D64FC8B4F}" dt="2024-07-08T22:46:18.562" v="3627" actId="1035"/>
          <ac:spMkLst>
            <pc:docMk/>
            <pc:sldMk cId="1676002536" sldId="2147482718"/>
            <ac:spMk id="2069" creationId="{A463DABA-DA2D-47B1-8AFD-E1DBA5741992}"/>
          </ac:spMkLst>
        </pc:spChg>
        <pc:spChg chg="add mod">
          <ac:chgData name="Camila Valbuena" userId="96dddc91-0310-4901-8518-e86c705ebbd6" providerId="ADAL" clId="{289F64AF-0AA4-47A6-8069-0B1D64FC8B4F}" dt="2024-07-08T22:46:18.562" v="3627" actId="1035"/>
          <ac:spMkLst>
            <pc:docMk/>
            <pc:sldMk cId="1676002536" sldId="2147482718"/>
            <ac:spMk id="2070" creationId="{4F4EC018-58E0-F3BC-7BC3-78D4295703E0}"/>
          </ac:spMkLst>
        </pc:spChg>
        <pc:spChg chg="add mod">
          <ac:chgData name="Camila Valbuena" userId="96dddc91-0310-4901-8518-e86c705ebbd6" providerId="ADAL" clId="{289F64AF-0AA4-47A6-8069-0B1D64FC8B4F}" dt="2024-07-08T22:46:18.562" v="3627" actId="1035"/>
          <ac:spMkLst>
            <pc:docMk/>
            <pc:sldMk cId="1676002536" sldId="2147482718"/>
            <ac:spMk id="2073" creationId="{D5F942B6-F8B5-2C16-3413-E521C5EE4B98}"/>
          </ac:spMkLst>
        </pc:spChg>
        <pc:spChg chg="add mod">
          <ac:chgData name="Camila Valbuena" userId="96dddc91-0310-4901-8518-e86c705ebbd6" providerId="ADAL" clId="{289F64AF-0AA4-47A6-8069-0B1D64FC8B4F}" dt="2024-07-08T22:46:18.562" v="3627" actId="1035"/>
          <ac:spMkLst>
            <pc:docMk/>
            <pc:sldMk cId="1676002536" sldId="2147482718"/>
            <ac:spMk id="2074" creationId="{0C10CADF-A68D-66C4-C31F-B183D346B976}"/>
          </ac:spMkLst>
        </pc:spChg>
        <pc:spChg chg="add mod">
          <ac:chgData name="Camila Valbuena" userId="96dddc91-0310-4901-8518-e86c705ebbd6" providerId="ADAL" clId="{289F64AF-0AA4-47A6-8069-0B1D64FC8B4F}" dt="2024-07-08T22:45:51.324" v="3601"/>
          <ac:spMkLst>
            <pc:docMk/>
            <pc:sldMk cId="1676002536" sldId="2147482718"/>
            <ac:spMk id="2082" creationId="{90F68DFE-2FF8-1406-648D-C9A48A7590DD}"/>
          </ac:spMkLst>
        </pc:spChg>
        <pc:spChg chg="add mod">
          <ac:chgData name="Camila Valbuena" userId="96dddc91-0310-4901-8518-e86c705ebbd6" providerId="ADAL" clId="{289F64AF-0AA4-47A6-8069-0B1D64FC8B4F}" dt="2024-07-08T22:46:57.179" v="3629"/>
          <ac:spMkLst>
            <pc:docMk/>
            <pc:sldMk cId="1676002536" sldId="2147482718"/>
            <ac:spMk id="2083" creationId="{AD9710C4-91FF-D010-52D0-5126C552BE08}"/>
          </ac:spMkLst>
        </pc:spChg>
        <pc:spChg chg="add mod">
          <ac:chgData name="Camila Valbuena" userId="96dddc91-0310-4901-8518-e86c705ebbd6" providerId="ADAL" clId="{289F64AF-0AA4-47A6-8069-0B1D64FC8B4F}" dt="2024-07-08T22:47:28.072" v="3648" actId="20577"/>
          <ac:spMkLst>
            <pc:docMk/>
            <pc:sldMk cId="1676002536" sldId="2147482718"/>
            <ac:spMk id="2084" creationId="{360959CF-FDE8-F2E3-0025-90548FD8FD67}"/>
          </ac:spMkLst>
        </pc:spChg>
        <pc:graphicFrameChg chg="add mod">
          <ac:chgData name="Camila Valbuena" userId="96dddc91-0310-4901-8518-e86c705ebbd6" providerId="ADAL" clId="{289F64AF-0AA4-47A6-8069-0B1D64FC8B4F}" dt="2024-07-08T22:38:50.766" v="3291"/>
          <ac:graphicFrameMkLst>
            <pc:docMk/>
            <pc:sldMk cId="1676002536" sldId="2147482718"/>
            <ac:graphicFrameMk id="6" creationId="{7413A504-7BEE-AEC6-068A-93435670A137}"/>
          </ac:graphicFrameMkLst>
        </pc:graphicFrameChg>
        <pc:graphicFrameChg chg="add mod modGraphic">
          <ac:chgData name="Camila Valbuena" userId="96dddc91-0310-4901-8518-e86c705ebbd6" providerId="ADAL" clId="{289F64AF-0AA4-47A6-8069-0B1D64FC8B4F}" dt="2024-07-08T22:46:18.562" v="3627" actId="1035"/>
          <ac:graphicFrameMkLst>
            <pc:docMk/>
            <pc:sldMk cId="1676002536" sldId="2147482718"/>
            <ac:graphicFrameMk id="35" creationId="{3690F72B-F960-7C91-383F-A94789F5B833}"/>
          </ac:graphicFrameMkLst>
        </pc:graphicFrameChg>
        <pc:picChg chg="add mod">
          <ac:chgData name="Camila Valbuena" userId="96dddc91-0310-4901-8518-e86c705ebbd6" providerId="ADAL" clId="{289F64AF-0AA4-47A6-8069-0B1D64FC8B4F}" dt="2024-07-08T22:38:50.766" v="3291"/>
          <ac:picMkLst>
            <pc:docMk/>
            <pc:sldMk cId="1676002536" sldId="2147482718"/>
            <ac:picMk id="7" creationId="{C7E542B2-E8E0-6C88-2053-714570B9BB30}"/>
          </ac:picMkLst>
        </pc:picChg>
        <pc:picChg chg="add mod">
          <ac:chgData name="Camila Valbuena" userId="96dddc91-0310-4901-8518-e86c705ebbd6" providerId="ADAL" clId="{289F64AF-0AA4-47A6-8069-0B1D64FC8B4F}" dt="2024-07-08T22:38:50.766" v="3291"/>
          <ac:picMkLst>
            <pc:docMk/>
            <pc:sldMk cId="1676002536" sldId="2147482718"/>
            <ac:picMk id="9" creationId="{6B4AA0E0-85A5-0B9A-50E0-DCADAD93777E}"/>
          </ac:picMkLst>
        </pc:picChg>
        <pc:picChg chg="add mod">
          <ac:chgData name="Camila Valbuena" userId="96dddc91-0310-4901-8518-e86c705ebbd6" providerId="ADAL" clId="{289F64AF-0AA4-47A6-8069-0B1D64FC8B4F}" dt="2024-07-08T22:38:50.766" v="3291"/>
          <ac:picMkLst>
            <pc:docMk/>
            <pc:sldMk cId="1676002536" sldId="2147482718"/>
            <ac:picMk id="10" creationId="{A20C8044-C8E9-59BB-7726-DFDAFF772C50}"/>
          </ac:picMkLst>
        </pc:picChg>
        <pc:picChg chg="add mod">
          <ac:chgData name="Camila Valbuena" userId="96dddc91-0310-4901-8518-e86c705ebbd6" providerId="ADAL" clId="{289F64AF-0AA4-47A6-8069-0B1D64FC8B4F}" dt="2024-07-08T22:38:50.766" v="3291"/>
          <ac:picMkLst>
            <pc:docMk/>
            <pc:sldMk cId="1676002536" sldId="2147482718"/>
            <ac:picMk id="11" creationId="{CBD5DE3F-A538-4665-CB34-47D964BB9A97}"/>
          </ac:picMkLst>
        </pc:picChg>
        <pc:picChg chg="add mod">
          <ac:chgData name="Camila Valbuena" userId="96dddc91-0310-4901-8518-e86c705ebbd6" providerId="ADAL" clId="{289F64AF-0AA4-47A6-8069-0B1D64FC8B4F}" dt="2024-07-08T22:38:50.766" v="3291"/>
          <ac:picMkLst>
            <pc:docMk/>
            <pc:sldMk cId="1676002536" sldId="2147482718"/>
            <ac:picMk id="23" creationId="{1EC23D0C-40CF-235E-6ED1-2C727E18C9DD}"/>
          </ac:picMkLst>
        </pc:picChg>
        <pc:picChg chg="add mod">
          <ac:chgData name="Camila Valbuena" userId="96dddc91-0310-4901-8518-e86c705ebbd6" providerId="ADAL" clId="{289F64AF-0AA4-47A6-8069-0B1D64FC8B4F}" dt="2024-07-08T22:38:50.766" v="3291"/>
          <ac:picMkLst>
            <pc:docMk/>
            <pc:sldMk cId="1676002536" sldId="2147482718"/>
            <ac:picMk id="24" creationId="{EF9C50EE-7B50-B810-09E2-BED9E36C5833}"/>
          </ac:picMkLst>
        </pc:picChg>
        <pc:picChg chg="add mod">
          <ac:chgData name="Camila Valbuena" userId="96dddc91-0310-4901-8518-e86c705ebbd6" providerId="ADAL" clId="{289F64AF-0AA4-47A6-8069-0B1D64FC8B4F}" dt="2024-07-08T22:38:50.766" v="3291"/>
          <ac:picMkLst>
            <pc:docMk/>
            <pc:sldMk cId="1676002536" sldId="2147482718"/>
            <ac:picMk id="25" creationId="{6400EC6C-E774-2422-EE73-F9DF430E8205}"/>
          </ac:picMkLst>
        </pc:picChg>
        <pc:picChg chg="add mod">
          <ac:chgData name="Camila Valbuena" userId="96dddc91-0310-4901-8518-e86c705ebbd6" providerId="ADAL" clId="{289F64AF-0AA4-47A6-8069-0B1D64FC8B4F}" dt="2024-07-08T22:38:50.766" v="3291"/>
          <ac:picMkLst>
            <pc:docMk/>
            <pc:sldMk cId="1676002536" sldId="2147482718"/>
            <ac:picMk id="26" creationId="{07A14AB4-8C72-2451-B799-B0298C4DE37D}"/>
          </ac:picMkLst>
        </pc:picChg>
        <pc:picChg chg="add mod">
          <ac:chgData name="Camila Valbuena" userId="96dddc91-0310-4901-8518-e86c705ebbd6" providerId="ADAL" clId="{289F64AF-0AA4-47A6-8069-0B1D64FC8B4F}" dt="2024-07-08T22:38:50.766" v="3291"/>
          <ac:picMkLst>
            <pc:docMk/>
            <pc:sldMk cId="1676002536" sldId="2147482718"/>
            <ac:picMk id="33" creationId="{CE356EF7-E6C9-E3CB-70D9-77B632832E65}"/>
          </ac:picMkLst>
        </pc:picChg>
        <pc:picChg chg="add mod">
          <ac:chgData name="Camila Valbuena" userId="96dddc91-0310-4901-8518-e86c705ebbd6" providerId="ADAL" clId="{289F64AF-0AA4-47A6-8069-0B1D64FC8B4F}" dt="2024-07-08T22:38:50.766" v="3291"/>
          <ac:picMkLst>
            <pc:docMk/>
            <pc:sldMk cId="1676002536" sldId="2147482718"/>
            <ac:picMk id="34" creationId="{99E30970-F3C9-209E-8895-85F25CD452C5}"/>
          </ac:picMkLst>
        </pc:picChg>
        <pc:picChg chg="add mod">
          <ac:chgData name="Camila Valbuena" userId="96dddc91-0310-4901-8518-e86c705ebbd6" providerId="ADAL" clId="{289F64AF-0AA4-47A6-8069-0B1D64FC8B4F}" dt="2024-07-08T22:46:18.562" v="3627" actId="1035"/>
          <ac:picMkLst>
            <pc:docMk/>
            <pc:sldMk cId="1676002536" sldId="2147482718"/>
            <ac:picMk id="36" creationId="{5441BAC7-3C8B-418E-484F-4BD1A79CBADE}"/>
          </ac:picMkLst>
        </pc:picChg>
        <pc:picChg chg="add mod">
          <ac:chgData name="Camila Valbuena" userId="96dddc91-0310-4901-8518-e86c705ebbd6" providerId="ADAL" clId="{289F64AF-0AA4-47A6-8069-0B1D64FC8B4F}" dt="2024-07-08T22:46:18.562" v="3627" actId="1035"/>
          <ac:picMkLst>
            <pc:docMk/>
            <pc:sldMk cId="1676002536" sldId="2147482718"/>
            <ac:picMk id="37" creationId="{31178A20-9410-5199-0E35-542A2B6D91C0}"/>
          </ac:picMkLst>
        </pc:picChg>
        <pc:picChg chg="add mod">
          <ac:chgData name="Camila Valbuena" userId="96dddc91-0310-4901-8518-e86c705ebbd6" providerId="ADAL" clId="{289F64AF-0AA4-47A6-8069-0B1D64FC8B4F}" dt="2024-07-08T22:46:18.562" v="3627" actId="1035"/>
          <ac:picMkLst>
            <pc:docMk/>
            <pc:sldMk cId="1676002536" sldId="2147482718"/>
            <ac:picMk id="38" creationId="{9C91209A-70FD-DCDB-61DA-8B12B1A4D934}"/>
          </ac:picMkLst>
        </pc:picChg>
        <pc:picChg chg="add mod">
          <ac:chgData name="Camila Valbuena" userId="96dddc91-0310-4901-8518-e86c705ebbd6" providerId="ADAL" clId="{289F64AF-0AA4-47A6-8069-0B1D64FC8B4F}" dt="2024-07-08T22:46:18.562" v="3627" actId="1035"/>
          <ac:picMkLst>
            <pc:docMk/>
            <pc:sldMk cId="1676002536" sldId="2147482718"/>
            <ac:picMk id="39" creationId="{A44005B3-7376-E484-B714-12C391497206}"/>
          </ac:picMkLst>
        </pc:picChg>
        <pc:picChg chg="add mod">
          <ac:chgData name="Camila Valbuena" userId="96dddc91-0310-4901-8518-e86c705ebbd6" providerId="ADAL" clId="{289F64AF-0AA4-47A6-8069-0B1D64FC8B4F}" dt="2024-07-08T22:46:18.562" v="3627" actId="1035"/>
          <ac:picMkLst>
            <pc:docMk/>
            <pc:sldMk cId="1676002536" sldId="2147482718"/>
            <ac:picMk id="50" creationId="{6DD07838-47FC-6C6A-CD43-EA84A3A26D82}"/>
          </ac:picMkLst>
        </pc:picChg>
        <pc:picChg chg="add mod">
          <ac:chgData name="Camila Valbuena" userId="96dddc91-0310-4901-8518-e86c705ebbd6" providerId="ADAL" clId="{289F64AF-0AA4-47A6-8069-0B1D64FC8B4F}" dt="2024-07-08T22:46:18.562" v="3627" actId="1035"/>
          <ac:picMkLst>
            <pc:docMk/>
            <pc:sldMk cId="1676002536" sldId="2147482718"/>
            <ac:picMk id="51" creationId="{EF149E56-2BEA-5DED-419D-D705D0B5900D}"/>
          </ac:picMkLst>
        </pc:picChg>
        <pc:picChg chg="add mod">
          <ac:chgData name="Camila Valbuena" userId="96dddc91-0310-4901-8518-e86c705ebbd6" providerId="ADAL" clId="{289F64AF-0AA4-47A6-8069-0B1D64FC8B4F}" dt="2024-07-08T22:46:18.562" v="3627" actId="1035"/>
          <ac:picMkLst>
            <pc:docMk/>
            <pc:sldMk cId="1676002536" sldId="2147482718"/>
            <ac:picMk id="52" creationId="{9571B5C1-E53C-E5AE-B09A-9A09EE9F471E}"/>
          </ac:picMkLst>
        </pc:picChg>
        <pc:picChg chg="add mod">
          <ac:chgData name="Camila Valbuena" userId="96dddc91-0310-4901-8518-e86c705ebbd6" providerId="ADAL" clId="{289F64AF-0AA4-47A6-8069-0B1D64FC8B4F}" dt="2024-07-08T22:46:18.562" v="3627" actId="1035"/>
          <ac:picMkLst>
            <pc:docMk/>
            <pc:sldMk cId="1676002536" sldId="2147482718"/>
            <ac:picMk id="53" creationId="{0AD911DC-56B6-E7F2-7428-1D234EF2D16F}"/>
          </ac:picMkLst>
        </pc:picChg>
        <pc:picChg chg="add mod">
          <ac:chgData name="Camila Valbuena" userId="96dddc91-0310-4901-8518-e86c705ebbd6" providerId="ADAL" clId="{289F64AF-0AA4-47A6-8069-0B1D64FC8B4F}" dt="2024-07-08T22:46:18.562" v="3627" actId="1035"/>
          <ac:picMkLst>
            <pc:docMk/>
            <pc:sldMk cId="1676002536" sldId="2147482718"/>
            <ac:picMk id="60" creationId="{0579168B-5B47-F3C6-2A5E-03D01E512FA9}"/>
          </ac:picMkLst>
        </pc:picChg>
        <pc:picChg chg="add mod">
          <ac:chgData name="Camila Valbuena" userId="96dddc91-0310-4901-8518-e86c705ebbd6" providerId="ADAL" clId="{289F64AF-0AA4-47A6-8069-0B1D64FC8B4F}" dt="2024-07-08T22:46:18.562" v="3627" actId="1035"/>
          <ac:picMkLst>
            <pc:docMk/>
            <pc:sldMk cId="1676002536" sldId="2147482718"/>
            <ac:picMk id="61" creationId="{42B9098A-80A3-52DB-2257-31529E3B60B7}"/>
          </ac:picMkLst>
        </pc:picChg>
        <pc:picChg chg="add mod">
          <ac:chgData name="Camila Valbuena" userId="96dddc91-0310-4901-8518-e86c705ebbd6" providerId="ADAL" clId="{289F64AF-0AA4-47A6-8069-0B1D64FC8B4F}" dt="2024-07-08T22:46:18.562" v="3627" actId="1035"/>
          <ac:picMkLst>
            <pc:docMk/>
            <pc:sldMk cId="1676002536" sldId="2147482718"/>
            <ac:picMk id="2054" creationId="{84F8C711-D32A-C05A-ABBA-74E0852519DA}"/>
          </ac:picMkLst>
        </pc:picChg>
        <pc:picChg chg="add mod">
          <ac:chgData name="Camila Valbuena" userId="96dddc91-0310-4901-8518-e86c705ebbd6" providerId="ADAL" clId="{289F64AF-0AA4-47A6-8069-0B1D64FC8B4F}" dt="2024-07-08T22:46:18.562" v="3627" actId="1035"/>
          <ac:picMkLst>
            <pc:docMk/>
            <pc:sldMk cId="1676002536" sldId="2147482718"/>
            <ac:picMk id="2055" creationId="{610F28B7-3EC2-6CFF-FA83-C80050D212C7}"/>
          </ac:picMkLst>
        </pc:picChg>
        <pc:picChg chg="add mod">
          <ac:chgData name="Camila Valbuena" userId="96dddc91-0310-4901-8518-e86c705ebbd6" providerId="ADAL" clId="{289F64AF-0AA4-47A6-8069-0B1D64FC8B4F}" dt="2024-07-08T22:46:18.562" v="3627" actId="1035"/>
          <ac:picMkLst>
            <pc:docMk/>
            <pc:sldMk cId="1676002536" sldId="2147482718"/>
            <ac:picMk id="2056" creationId="{CCF961E0-AC45-4B07-1629-7D164BCE2B01}"/>
          </ac:picMkLst>
        </pc:picChg>
        <pc:picChg chg="add mod">
          <ac:chgData name="Camila Valbuena" userId="96dddc91-0310-4901-8518-e86c705ebbd6" providerId="ADAL" clId="{289F64AF-0AA4-47A6-8069-0B1D64FC8B4F}" dt="2024-07-08T22:46:18.562" v="3627" actId="1035"/>
          <ac:picMkLst>
            <pc:docMk/>
            <pc:sldMk cId="1676002536" sldId="2147482718"/>
            <ac:picMk id="2062" creationId="{24839C3C-0A3A-B8F5-3E19-193DB04E3F0D}"/>
          </ac:picMkLst>
        </pc:picChg>
        <pc:picChg chg="add mod">
          <ac:chgData name="Camila Valbuena" userId="96dddc91-0310-4901-8518-e86c705ebbd6" providerId="ADAL" clId="{289F64AF-0AA4-47A6-8069-0B1D64FC8B4F}" dt="2024-07-08T22:46:18.562" v="3627" actId="1035"/>
          <ac:picMkLst>
            <pc:docMk/>
            <pc:sldMk cId="1676002536" sldId="2147482718"/>
            <ac:picMk id="2065" creationId="{A59560D1-8220-6F4F-8851-F0E3B547869B}"/>
          </ac:picMkLst>
        </pc:picChg>
        <pc:picChg chg="add mod">
          <ac:chgData name="Camila Valbuena" userId="96dddc91-0310-4901-8518-e86c705ebbd6" providerId="ADAL" clId="{289F64AF-0AA4-47A6-8069-0B1D64FC8B4F}" dt="2024-07-08T22:46:18.562" v="3627" actId="1035"/>
          <ac:picMkLst>
            <pc:docMk/>
            <pc:sldMk cId="1676002536" sldId="2147482718"/>
            <ac:picMk id="2066" creationId="{5F134272-49F8-0858-C569-98D6916C684E}"/>
          </ac:picMkLst>
        </pc:picChg>
        <pc:picChg chg="add mod">
          <ac:chgData name="Camila Valbuena" userId="96dddc91-0310-4901-8518-e86c705ebbd6" providerId="ADAL" clId="{289F64AF-0AA4-47A6-8069-0B1D64FC8B4F}" dt="2024-07-08T22:46:18.562" v="3627" actId="1035"/>
          <ac:picMkLst>
            <pc:docMk/>
            <pc:sldMk cId="1676002536" sldId="2147482718"/>
            <ac:picMk id="2071" creationId="{4A4A22B5-1D60-78BA-9E77-B3E29578716A}"/>
          </ac:picMkLst>
        </pc:picChg>
        <pc:picChg chg="add mod">
          <ac:chgData name="Camila Valbuena" userId="96dddc91-0310-4901-8518-e86c705ebbd6" providerId="ADAL" clId="{289F64AF-0AA4-47A6-8069-0B1D64FC8B4F}" dt="2024-07-08T22:46:18.562" v="3627" actId="1035"/>
          <ac:picMkLst>
            <pc:docMk/>
            <pc:sldMk cId="1676002536" sldId="2147482718"/>
            <ac:picMk id="2072" creationId="{FC4B638C-F457-A2FC-03FD-451BAE8A709B}"/>
          </ac:picMkLst>
        </pc:picChg>
        <pc:picChg chg="add mod">
          <ac:chgData name="Camila Valbuena" userId="96dddc91-0310-4901-8518-e86c705ebbd6" providerId="ADAL" clId="{289F64AF-0AA4-47A6-8069-0B1D64FC8B4F}" dt="2024-07-08T22:46:18.562" v="3627" actId="1035"/>
          <ac:picMkLst>
            <pc:docMk/>
            <pc:sldMk cId="1676002536" sldId="2147482718"/>
            <ac:picMk id="2075" creationId="{AA4DF35C-B0E0-3916-C672-866A6A73F991}"/>
          </ac:picMkLst>
        </pc:picChg>
        <pc:picChg chg="add mod">
          <ac:chgData name="Camila Valbuena" userId="96dddc91-0310-4901-8518-e86c705ebbd6" providerId="ADAL" clId="{289F64AF-0AA4-47A6-8069-0B1D64FC8B4F}" dt="2024-07-08T22:46:18.562" v="3627" actId="1035"/>
          <ac:picMkLst>
            <pc:docMk/>
            <pc:sldMk cId="1676002536" sldId="2147482718"/>
            <ac:picMk id="2076" creationId="{F12CED7C-8667-2A9A-532A-F7AE2F75D2AF}"/>
          </ac:picMkLst>
        </pc:picChg>
        <pc:picChg chg="add mod">
          <ac:chgData name="Camila Valbuena" userId="96dddc91-0310-4901-8518-e86c705ebbd6" providerId="ADAL" clId="{289F64AF-0AA4-47A6-8069-0B1D64FC8B4F}" dt="2024-07-08T22:46:18.562" v="3627" actId="1035"/>
          <ac:picMkLst>
            <pc:docMk/>
            <pc:sldMk cId="1676002536" sldId="2147482718"/>
            <ac:picMk id="2077" creationId="{BA74C271-9F98-430C-2E2D-B9E78BEEC4EF}"/>
          </ac:picMkLst>
        </pc:picChg>
        <pc:picChg chg="add mod">
          <ac:chgData name="Camila Valbuena" userId="96dddc91-0310-4901-8518-e86c705ebbd6" providerId="ADAL" clId="{289F64AF-0AA4-47A6-8069-0B1D64FC8B4F}" dt="2024-07-08T22:46:18.562" v="3627" actId="1035"/>
          <ac:picMkLst>
            <pc:docMk/>
            <pc:sldMk cId="1676002536" sldId="2147482718"/>
            <ac:picMk id="2078" creationId="{57B9640A-71E6-4691-5392-385A80BFAC64}"/>
          </ac:picMkLst>
        </pc:picChg>
        <pc:picChg chg="add mod">
          <ac:chgData name="Camila Valbuena" userId="96dddc91-0310-4901-8518-e86c705ebbd6" providerId="ADAL" clId="{289F64AF-0AA4-47A6-8069-0B1D64FC8B4F}" dt="2024-07-08T22:46:18.562" v="3627" actId="1035"/>
          <ac:picMkLst>
            <pc:docMk/>
            <pc:sldMk cId="1676002536" sldId="2147482718"/>
            <ac:picMk id="2079" creationId="{4B3AAEF5-5516-ECF9-65AD-9C248796BF4F}"/>
          </ac:picMkLst>
        </pc:picChg>
        <pc:picChg chg="add mod">
          <ac:chgData name="Camila Valbuena" userId="96dddc91-0310-4901-8518-e86c705ebbd6" providerId="ADAL" clId="{289F64AF-0AA4-47A6-8069-0B1D64FC8B4F}" dt="2024-07-08T22:46:18.562" v="3627" actId="1035"/>
          <ac:picMkLst>
            <pc:docMk/>
            <pc:sldMk cId="1676002536" sldId="2147482718"/>
            <ac:picMk id="2080" creationId="{189F7EA3-A3F5-4F1F-B9E1-0076B5978E9C}"/>
          </ac:picMkLst>
        </pc:picChg>
        <pc:picChg chg="add mod">
          <ac:chgData name="Camila Valbuena" userId="96dddc91-0310-4901-8518-e86c705ebbd6" providerId="ADAL" clId="{289F64AF-0AA4-47A6-8069-0B1D64FC8B4F}" dt="2024-07-08T22:46:18.562" v="3627" actId="1035"/>
          <ac:picMkLst>
            <pc:docMk/>
            <pc:sldMk cId="1676002536" sldId="2147482718"/>
            <ac:picMk id="2081" creationId="{75AC9DFE-06F0-D89F-002A-92897407475D}"/>
          </ac:picMkLst>
        </pc:picChg>
      </pc:sldChg>
      <pc:sldChg chg="addSp delSp modSp mod">
        <pc:chgData name="Camila Valbuena" userId="96dddc91-0310-4901-8518-e86c705ebbd6" providerId="ADAL" clId="{289F64AF-0AA4-47A6-8069-0B1D64FC8B4F}" dt="2024-07-09T00:32:41.242" v="6086" actId="790"/>
        <pc:sldMkLst>
          <pc:docMk/>
          <pc:sldMk cId="763866243" sldId="2147482719"/>
        </pc:sldMkLst>
        <pc:spChg chg="add mod">
          <ac:chgData name="Camila Valbuena" userId="96dddc91-0310-4901-8518-e86c705ebbd6" providerId="ADAL" clId="{289F64AF-0AA4-47A6-8069-0B1D64FC8B4F}" dt="2024-07-09T00:24:05.899" v="5788"/>
          <ac:spMkLst>
            <pc:docMk/>
            <pc:sldMk cId="763866243" sldId="2147482719"/>
            <ac:spMk id="3" creationId="{6C4EA952-3C71-BCD4-2ABD-993EA04A4843}"/>
          </ac:spMkLst>
        </pc:spChg>
        <pc:spChg chg="add mod">
          <ac:chgData name="Camila Valbuena" userId="96dddc91-0310-4901-8518-e86c705ebbd6" providerId="ADAL" clId="{289F64AF-0AA4-47A6-8069-0B1D64FC8B4F}" dt="2024-07-09T00:24:05.899" v="5788"/>
          <ac:spMkLst>
            <pc:docMk/>
            <pc:sldMk cId="763866243" sldId="2147482719"/>
            <ac:spMk id="5" creationId="{22B83E2E-072C-37BE-917E-38106AA9AE97}"/>
          </ac:spMkLst>
        </pc:spChg>
        <pc:spChg chg="add mod">
          <ac:chgData name="Camila Valbuena" userId="96dddc91-0310-4901-8518-e86c705ebbd6" providerId="ADAL" clId="{289F64AF-0AA4-47A6-8069-0B1D64FC8B4F}" dt="2024-07-09T00:26:49.190" v="5841" actId="571"/>
          <ac:spMkLst>
            <pc:docMk/>
            <pc:sldMk cId="763866243" sldId="2147482719"/>
            <ac:spMk id="7" creationId="{041015D8-26D3-85D9-5A67-4CFBCDE754FE}"/>
          </ac:spMkLst>
        </pc:spChg>
        <pc:spChg chg="add del mod">
          <ac:chgData name="Camila Valbuena" userId="96dddc91-0310-4901-8518-e86c705ebbd6" providerId="ADAL" clId="{289F64AF-0AA4-47A6-8069-0B1D64FC8B4F}" dt="2024-07-09T00:27:06.181" v="5845" actId="478"/>
          <ac:spMkLst>
            <pc:docMk/>
            <pc:sldMk cId="763866243" sldId="2147482719"/>
            <ac:spMk id="9" creationId="{DED1EC13-139D-399A-FFE2-FD6114E0C4EE}"/>
          </ac:spMkLst>
        </pc:spChg>
        <pc:spChg chg="add mod">
          <ac:chgData name="Camila Valbuena" userId="96dddc91-0310-4901-8518-e86c705ebbd6" providerId="ADAL" clId="{289F64AF-0AA4-47A6-8069-0B1D64FC8B4F}" dt="2024-07-09T00:28:09.630" v="5871" actId="20577"/>
          <ac:spMkLst>
            <pc:docMk/>
            <pc:sldMk cId="763866243" sldId="2147482719"/>
            <ac:spMk id="10" creationId="{1396DD86-7161-5172-F809-24B448C1C193}"/>
          </ac:spMkLst>
        </pc:spChg>
        <pc:spChg chg="add mod ord">
          <ac:chgData name="Camila Valbuena" userId="96dddc91-0310-4901-8518-e86c705ebbd6" providerId="ADAL" clId="{289F64AF-0AA4-47A6-8069-0B1D64FC8B4F}" dt="2024-07-09T00:31:46.245" v="6056" actId="1076"/>
          <ac:spMkLst>
            <pc:docMk/>
            <pc:sldMk cId="763866243" sldId="2147482719"/>
            <ac:spMk id="11" creationId="{87D752F0-3CF1-C9B3-D857-D45059A5A23D}"/>
          </ac:spMkLst>
        </pc:spChg>
        <pc:spChg chg="add mod">
          <ac:chgData name="Camila Valbuena" userId="96dddc91-0310-4901-8518-e86c705ebbd6" providerId="ADAL" clId="{289F64AF-0AA4-47A6-8069-0B1D64FC8B4F}" dt="2024-07-09T00:29:31.942" v="5901" actId="790"/>
          <ac:spMkLst>
            <pc:docMk/>
            <pc:sldMk cId="763866243" sldId="2147482719"/>
            <ac:spMk id="12" creationId="{812CBC63-4DD1-7214-1238-013CF16B8FF5}"/>
          </ac:spMkLst>
        </pc:spChg>
        <pc:spChg chg="add mod ord">
          <ac:chgData name="Camila Valbuena" userId="96dddc91-0310-4901-8518-e86c705ebbd6" providerId="ADAL" clId="{289F64AF-0AA4-47A6-8069-0B1D64FC8B4F}" dt="2024-07-09T00:31:16.016" v="6046" actId="171"/>
          <ac:spMkLst>
            <pc:docMk/>
            <pc:sldMk cId="763866243" sldId="2147482719"/>
            <ac:spMk id="13" creationId="{61B824D7-36BB-AEB9-C4FC-EDB243A957EB}"/>
          </ac:spMkLst>
        </pc:spChg>
        <pc:spChg chg="add mod ord">
          <ac:chgData name="Camila Valbuena" userId="96dddc91-0310-4901-8518-e86c705ebbd6" providerId="ADAL" clId="{289F64AF-0AA4-47A6-8069-0B1D64FC8B4F}" dt="2024-07-09T00:31:49.234" v="6057" actId="1076"/>
          <ac:spMkLst>
            <pc:docMk/>
            <pc:sldMk cId="763866243" sldId="2147482719"/>
            <ac:spMk id="14" creationId="{5AD22FC7-A787-810A-1465-56CC849AF86D}"/>
          </ac:spMkLst>
        </pc:spChg>
        <pc:spChg chg="add mod ord">
          <ac:chgData name="Camila Valbuena" userId="96dddc91-0310-4901-8518-e86c705ebbd6" providerId="ADAL" clId="{289F64AF-0AA4-47A6-8069-0B1D64FC8B4F}" dt="2024-07-09T00:32:11.650" v="6073" actId="790"/>
          <ac:spMkLst>
            <pc:docMk/>
            <pc:sldMk cId="763866243" sldId="2147482719"/>
            <ac:spMk id="25" creationId="{8CAFEBF4-4362-B562-C8D6-87F9109A22EF}"/>
          </ac:spMkLst>
        </pc:spChg>
        <pc:spChg chg="add mod ord">
          <ac:chgData name="Camila Valbuena" userId="96dddc91-0310-4901-8518-e86c705ebbd6" providerId="ADAL" clId="{289F64AF-0AA4-47A6-8069-0B1D64FC8B4F}" dt="2024-07-09T00:32:11.650" v="6073" actId="790"/>
          <ac:spMkLst>
            <pc:docMk/>
            <pc:sldMk cId="763866243" sldId="2147482719"/>
            <ac:spMk id="28" creationId="{8F8C7059-DAD2-EA49-DA29-ACEFC3483406}"/>
          </ac:spMkLst>
        </pc:spChg>
        <pc:spChg chg="add mod ord">
          <ac:chgData name="Camila Valbuena" userId="96dddc91-0310-4901-8518-e86c705ebbd6" providerId="ADAL" clId="{289F64AF-0AA4-47A6-8069-0B1D64FC8B4F}" dt="2024-07-09T00:32:11.650" v="6073" actId="790"/>
          <ac:spMkLst>
            <pc:docMk/>
            <pc:sldMk cId="763866243" sldId="2147482719"/>
            <ac:spMk id="29" creationId="{FD18B9EF-AC56-1CA8-E5EB-276211C98948}"/>
          </ac:spMkLst>
        </pc:spChg>
        <pc:spChg chg="add mod ord">
          <ac:chgData name="Camila Valbuena" userId="96dddc91-0310-4901-8518-e86c705ebbd6" providerId="ADAL" clId="{289F64AF-0AA4-47A6-8069-0B1D64FC8B4F}" dt="2024-07-09T00:32:29.409" v="6083" actId="790"/>
          <ac:spMkLst>
            <pc:docMk/>
            <pc:sldMk cId="763866243" sldId="2147482719"/>
            <ac:spMk id="31" creationId="{33BB797D-8D8E-14D8-5480-A0153265E544}"/>
          </ac:spMkLst>
        </pc:spChg>
        <pc:spChg chg="mod">
          <ac:chgData name="Camila Valbuena" userId="96dddc91-0310-4901-8518-e86c705ebbd6" providerId="ADAL" clId="{289F64AF-0AA4-47A6-8069-0B1D64FC8B4F}" dt="2024-07-09T00:23:59.374" v="5787" actId="1076"/>
          <ac:spMkLst>
            <pc:docMk/>
            <pc:sldMk cId="763866243" sldId="2147482719"/>
            <ac:spMk id="32" creationId="{2DCC0689-1468-6D28-B348-71C5EB253FBC}"/>
          </ac:spMkLst>
        </pc:spChg>
        <pc:spChg chg="add mod ord">
          <ac:chgData name="Camila Valbuena" userId="96dddc91-0310-4901-8518-e86c705ebbd6" providerId="ADAL" clId="{289F64AF-0AA4-47A6-8069-0B1D64FC8B4F}" dt="2024-07-09T00:32:29.409" v="6083" actId="790"/>
          <ac:spMkLst>
            <pc:docMk/>
            <pc:sldMk cId="763866243" sldId="2147482719"/>
            <ac:spMk id="34" creationId="{74A190BC-1255-A060-9F35-EF17D8511602}"/>
          </ac:spMkLst>
        </pc:spChg>
        <pc:spChg chg="add mod">
          <ac:chgData name="Camila Valbuena" userId="96dddc91-0310-4901-8518-e86c705ebbd6" providerId="ADAL" clId="{289F64AF-0AA4-47A6-8069-0B1D64FC8B4F}" dt="2024-07-09T00:31:24.116" v="6050" actId="14100"/>
          <ac:spMkLst>
            <pc:docMk/>
            <pc:sldMk cId="763866243" sldId="2147482719"/>
            <ac:spMk id="35" creationId="{2A0E9C8D-9FE4-98F6-285B-C0F0777998E7}"/>
          </ac:spMkLst>
        </pc:spChg>
        <pc:spChg chg="add mod">
          <ac:chgData name="Camila Valbuena" userId="96dddc91-0310-4901-8518-e86c705ebbd6" providerId="ADAL" clId="{289F64AF-0AA4-47A6-8069-0B1D64FC8B4F}" dt="2024-07-09T00:31:27.901" v="6052" actId="1076"/>
          <ac:spMkLst>
            <pc:docMk/>
            <pc:sldMk cId="763866243" sldId="2147482719"/>
            <ac:spMk id="37" creationId="{24D5DEB3-0CEE-3EAB-3DDA-E245E64481BE}"/>
          </ac:spMkLst>
        </pc:spChg>
        <pc:spChg chg="add mod">
          <ac:chgData name="Camila Valbuena" userId="96dddc91-0310-4901-8518-e86c705ebbd6" providerId="ADAL" clId="{289F64AF-0AA4-47A6-8069-0B1D64FC8B4F}" dt="2024-07-09T00:32:36.248" v="6085" actId="1076"/>
          <ac:spMkLst>
            <pc:docMk/>
            <pc:sldMk cId="763866243" sldId="2147482719"/>
            <ac:spMk id="38" creationId="{6942A9E1-5317-A180-5D52-58492D6782A3}"/>
          </ac:spMkLst>
        </pc:spChg>
        <pc:spChg chg="mod">
          <ac:chgData name="Camila Valbuena" userId="96dddc91-0310-4901-8518-e86c705ebbd6" providerId="ADAL" clId="{289F64AF-0AA4-47A6-8069-0B1D64FC8B4F}" dt="2024-07-09T00:24:10.245" v="5789" actId="20577"/>
          <ac:spMkLst>
            <pc:docMk/>
            <pc:sldMk cId="763866243" sldId="2147482719"/>
            <ac:spMk id="60" creationId="{DF1FBF2E-5DB9-98E7-9320-7BB3376E6E34}"/>
          </ac:spMkLst>
        </pc:spChg>
        <pc:spChg chg="mod">
          <ac:chgData name="Camila Valbuena" userId="96dddc91-0310-4901-8518-e86c705ebbd6" providerId="ADAL" clId="{289F64AF-0AA4-47A6-8069-0B1D64FC8B4F}" dt="2024-07-09T00:26:57.821" v="5842" actId="114"/>
          <ac:spMkLst>
            <pc:docMk/>
            <pc:sldMk cId="763866243" sldId="2147482719"/>
            <ac:spMk id="66" creationId="{F4DAD719-9437-32AB-684D-09581F8C6633}"/>
          </ac:spMkLst>
        </pc:spChg>
        <pc:spChg chg="mod">
          <ac:chgData name="Camila Valbuena" userId="96dddc91-0310-4901-8518-e86c705ebbd6" providerId="ADAL" clId="{289F64AF-0AA4-47A6-8069-0B1D64FC8B4F}" dt="2024-07-09T00:24:23.467" v="5794" actId="20577"/>
          <ac:spMkLst>
            <pc:docMk/>
            <pc:sldMk cId="763866243" sldId="2147482719"/>
            <ac:spMk id="75" creationId="{DB276395-1B7F-4F17-06F5-A1BD55383BAE}"/>
          </ac:spMkLst>
        </pc:spChg>
        <pc:spChg chg="mod">
          <ac:chgData name="Camila Valbuena" userId="96dddc91-0310-4901-8518-e86c705ebbd6" providerId="ADAL" clId="{289F64AF-0AA4-47A6-8069-0B1D64FC8B4F}" dt="2024-07-09T00:26:12.947" v="5827" actId="404"/>
          <ac:spMkLst>
            <pc:docMk/>
            <pc:sldMk cId="763866243" sldId="2147482719"/>
            <ac:spMk id="80" creationId="{063766A4-058E-E775-DCAA-B91321A1E00B}"/>
          </ac:spMkLst>
        </pc:spChg>
        <pc:spChg chg="mod">
          <ac:chgData name="Camila Valbuena" userId="96dddc91-0310-4901-8518-e86c705ebbd6" providerId="ADAL" clId="{289F64AF-0AA4-47A6-8069-0B1D64FC8B4F}" dt="2024-07-09T00:32:41.242" v="6086" actId="790"/>
          <ac:spMkLst>
            <pc:docMk/>
            <pc:sldMk cId="763866243" sldId="2147482719"/>
            <ac:spMk id="81" creationId="{B19FA038-0CB7-A484-FAFF-8B6FA72A8D32}"/>
          </ac:spMkLst>
        </pc:spChg>
        <pc:spChg chg="mod">
          <ac:chgData name="Camila Valbuena" userId="96dddc91-0310-4901-8518-e86c705ebbd6" providerId="ADAL" clId="{289F64AF-0AA4-47A6-8069-0B1D64FC8B4F}" dt="2024-07-09T00:26:38.535" v="5836" actId="114"/>
          <ac:spMkLst>
            <pc:docMk/>
            <pc:sldMk cId="763866243" sldId="2147482719"/>
            <ac:spMk id="83" creationId="{35C6C7E7-F6F0-5359-76CC-594BC27EBEF6}"/>
          </ac:spMkLst>
        </pc:spChg>
        <pc:spChg chg="mod">
          <ac:chgData name="Camila Valbuena" userId="96dddc91-0310-4901-8518-e86c705ebbd6" providerId="ADAL" clId="{289F64AF-0AA4-47A6-8069-0B1D64FC8B4F}" dt="2024-07-09T00:27:44.453" v="5859" actId="6549"/>
          <ac:spMkLst>
            <pc:docMk/>
            <pc:sldMk cId="763866243" sldId="2147482719"/>
            <ac:spMk id="95" creationId="{F6608611-8B70-AB34-F447-51960D0DE592}"/>
          </ac:spMkLst>
        </pc:spChg>
        <pc:spChg chg="mod">
          <ac:chgData name="Camila Valbuena" userId="96dddc91-0310-4901-8518-e86c705ebbd6" providerId="ADAL" clId="{289F64AF-0AA4-47A6-8069-0B1D64FC8B4F}" dt="2024-07-09T00:27:32.921" v="5854"/>
          <ac:spMkLst>
            <pc:docMk/>
            <pc:sldMk cId="763866243" sldId="2147482719"/>
            <ac:spMk id="99" creationId="{E95AF8D2-E0A1-F359-0AED-DCD8E3017140}"/>
          </ac:spMkLst>
        </pc:spChg>
        <pc:picChg chg="add mod">
          <ac:chgData name="Camila Valbuena" userId="96dddc91-0310-4901-8518-e86c705ebbd6" providerId="ADAL" clId="{289F64AF-0AA4-47A6-8069-0B1D64FC8B4F}" dt="2024-07-08T22:48:59.350" v="3652"/>
          <ac:picMkLst>
            <pc:docMk/>
            <pc:sldMk cId="763866243" sldId="2147482719"/>
            <ac:picMk id="2" creationId="{3941705F-59E4-EB40-0E2C-7022ECE1B2E8}"/>
          </ac:picMkLst>
        </pc:picChg>
      </pc:sldChg>
      <pc:sldChg chg="del ord delCm">
        <pc:chgData name="Camila Valbuena" userId="96dddc91-0310-4901-8518-e86c705ebbd6" providerId="ADAL" clId="{289F64AF-0AA4-47A6-8069-0B1D64FC8B4F}" dt="2024-07-08T21:03:34.020" v="2150" actId="47"/>
        <pc:sldMkLst>
          <pc:docMk/>
          <pc:sldMk cId="1090964048" sldId="2147482719"/>
        </pc:sldMkLst>
        <pc:extLst>
          <p:ext xmlns:p="http://schemas.openxmlformats.org/presentationml/2006/main" uri="{D6D511B9-2390-475A-947B-AFAB55BFBCF1}">
            <pc226:cmChg xmlns:pc226="http://schemas.microsoft.com/office/powerpoint/2022/06/main/command" chg="del">
              <pc226:chgData name="Camila Valbuena" userId="96dddc91-0310-4901-8518-e86c705ebbd6" providerId="ADAL" clId="{289F64AF-0AA4-47A6-8069-0B1D64FC8B4F}" dt="2024-07-08T20:10:13.676" v="514"/>
              <pc2:cmMkLst xmlns:pc2="http://schemas.microsoft.com/office/powerpoint/2019/9/main/command">
                <pc:docMk/>
                <pc:sldMk cId="1090964048" sldId="2147482719"/>
                <pc2:cmMk id="{475C40E3-05A2-472E-B0EF-EC19B950F50A}"/>
              </pc2:cmMkLst>
            </pc226:cmChg>
          </p:ext>
        </pc:extLst>
      </pc:sldChg>
      <pc:sldChg chg="addSp delSp modSp add del mod">
        <pc:chgData name="Camila Valbuena" userId="96dddc91-0310-4901-8518-e86c705ebbd6" providerId="ADAL" clId="{289F64AF-0AA4-47A6-8069-0B1D64FC8B4F}" dt="2024-07-08T20:36:24.052" v="1282" actId="47"/>
        <pc:sldMkLst>
          <pc:docMk/>
          <pc:sldMk cId="1896750011" sldId="2147482720"/>
        </pc:sldMkLst>
        <pc:spChg chg="del">
          <ac:chgData name="Camila Valbuena" userId="96dddc91-0310-4901-8518-e86c705ebbd6" providerId="ADAL" clId="{289F64AF-0AA4-47A6-8069-0B1D64FC8B4F}" dt="2024-07-08T20:33:19.577" v="1219" actId="478"/>
          <ac:spMkLst>
            <pc:docMk/>
            <pc:sldMk cId="1896750011" sldId="2147482720"/>
            <ac:spMk id="2" creationId="{B5BF7F63-9151-B742-F5F2-53AEA5AB27EB}"/>
          </ac:spMkLst>
        </pc:spChg>
        <pc:spChg chg="add mod">
          <ac:chgData name="Camila Valbuena" userId="96dddc91-0310-4901-8518-e86c705ebbd6" providerId="ADAL" clId="{289F64AF-0AA4-47A6-8069-0B1D64FC8B4F}" dt="2024-07-08T20:33:44.646" v="1220"/>
          <ac:spMkLst>
            <pc:docMk/>
            <pc:sldMk cId="1896750011" sldId="2147482720"/>
            <ac:spMk id="3" creationId="{F1A0CD67-7D95-F9FC-B842-5B0E4553C9B9}"/>
          </ac:spMkLst>
        </pc:spChg>
        <pc:spChg chg="del">
          <ac:chgData name="Camila Valbuena" userId="96dddc91-0310-4901-8518-e86c705ebbd6" providerId="ADAL" clId="{289F64AF-0AA4-47A6-8069-0B1D64FC8B4F}" dt="2024-07-08T20:33:19.577" v="1219" actId="478"/>
          <ac:spMkLst>
            <pc:docMk/>
            <pc:sldMk cId="1896750011" sldId="2147482720"/>
            <ac:spMk id="4" creationId="{EECEE998-BE29-5C82-3181-32A85F2717B7}"/>
          </ac:spMkLst>
        </pc:spChg>
        <pc:spChg chg="add mod">
          <ac:chgData name="Camila Valbuena" userId="96dddc91-0310-4901-8518-e86c705ebbd6" providerId="ADAL" clId="{289F64AF-0AA4-47A6-8069-0B1D64FC8B4F}" dt="2024-07-08T20:33:44.646" v="1220"/>
          <ac:spMkLst>
            <pc:docMk/>
            <pc:sldMk cId="1896750011" sldId="2147482720"/>
            <ac:spMk id="6" creationId="{04246B74-32A5-8E7D-27DC-C3C1DAC6CA36}"/>
          </ac:spMkLst>
        </pc:spChg>
        <pc:spChg chg="mod">
          <ac:chgData name="Camila Valbuena" userId="96dddc91-0310-4901-8518-e86c705ebbd6" providerId="ADAL" clId="{289F64AF-0AA4-47A6-8069-0B1D64FC8B4F}" dt="2024-07-08T20:35:12.329" v="1243" actId="1076"/>
          <ac:spMkLst>
            <pc:docMk/>
            <pc:sldMk cId="1896750011" sldId="2147482720"/>
            <ac:spMk id="7" creationId="{FC239926-804D-540A-2015-220B246540D5}"/>
          </ac:spMkLst>
        </pc:spChg>
        <pc:spChg chg="mod">
          <ac:chgData name="Camila Valbuena" userId="96dddc91-0310-4901-8518-e86c705ebbd6" providerId="ADAL" clId="{289F64AF-0AA4-47A6-8069-0B1D64FC8B4F}" dt="2024-07-08T20:35:17.052" v="1244" actId="1076"/>
          <ac:spMkLst>
            <pc:docMk/>
            <pc:sldMk cId="1896750011" sldId="2147482720"/>
            <ac:spMk id="8" creationId="{8D40EF30-BB20-A5DD-9A2B-EE4E0330DAB1}"/>
          </ac:spMkLst>
        </pc:spChg>
        <pc:spChg chg="mod">
          <ac:chgData name="Camila Valbuena" userId="96dddc91-0310-4901-8518-e86c705ebbd6" providerId="ADAL" clId="{289F64AF-0AA4-47A6-8069-0B1D64FC8B4F}" dt="2024-07-08T20:35:20.546" v="1245" actId="1076"/>
          <ac:spMkLst>
            <pc:docMk/>
            <pc:sldMk cId="1896750011" sldId="2147482720"/>
            <ac:spMk id="9" creationId="{29D1C70A-B876-567E-2C6E-62C980A064D1}"/>
          </ac:spMkLst>
        </pc:spChg>
        <pc:spChg chg="add mod">
          <ac:chgData name="Camila Valbuena" userId="96dddc91-0310-4901-8518-e86c705ebbd6" providerId="ADAL" clId="{289F64AF-0AA4-47A6-8069-0B1D64FC8B4F}" dt="2024-07-08T20:33:44.646" v="1220"/>
          <ac:spMkLst>
            <pc:docMk/>
            <pc:sldMk cId="1896750011" sldId="2147482720"/>
            <ac:spMk id="10" creationId="{92CFEF6A-ACA9-98DE-02B9-F39C764F5B43}"/>
          </ac:spMkLst>
        </pc:spChg>
        <pc:spChg chg="add mod">
          <ac:chgData name="Camila Valbuena" userId="96dddc91-0310-4901-8518-e86c705ebbd6" providerId="ADAL" clId="{289F64AF-0AA4-47A6-8069-0B1D64FC8B4F}" dt="2024-07-08T20:33:44.646" v="1220"/>
          <ac:spMkLst>
            <pc:docMk/>
            <pc:sldMk cId="1896750011" sldId="2147482720"/>
            <ac:spMk id="11" creationId="{333268F5-4EA4-6D82-778E-3378C92300CC}"/>
          </ac:spMkLst>
        </pc:spChg>
        <pc:spChg chg="add mod">
          <ac:chgData name="Camila Valbuena" userId="96dddc91-0310-4901-8518-e86c705ebbd6" providerId="ADAL" clId="{289F64AF-0AA4-47A6-8069-0B1D64FC8B4F}" dt="2024-07-08T20:33:44.646" v="1220"/>
          <ac:spMkLst>
            <pc:docMk/>
            <pc:sldMk cId="1896750011" sldId="2147482720"/>
            <ac:spMk id="13" creationId="{4BAD966C-304F-4666-124C-CFF4A04ED2AA}"/>
          </ac:spMkLst>
        </pc:spChg>
        <pc:spChg chg="add mod">
          <ac:chgData name="Camila Valbuena" userId="96dddc91-0310-4901-8518-e86c705ebbd6" providerId="ADAL" clId="{289F64AF-0AA4-47A6-8069-0B1D64FC8B4F}" dt="2024-07-08T20:33:44.646" v="1220"/>
          <ac:spMkLst>
            <pc:docMk/>
            <pc:sldMk cId="1896750011" sldId="2147482720"/>
            <ac:spMk id="14" creationId="{59782F26-A98F-0B0C-F785-88EC8E655D3A}"/>
          </ac:spMkLst>
        </pc:spChg>
        <pc:spChg chg="add mod">
          <ac:chgData name="Camila Valbuena" userId="96dddc91-0310-4901-8518-e86c705ebbd6" providerId="ADAL" clId="{289F64AF-0AA4-47A6-8069-0B1D64FC8B4F}" dt="2024-07-08T20:33:44.646" v="1220"/>
          <ac:spMkLst>
            <pc:docMk/>
            <pc:sldMk cId="1896750011" sldId="2147482720"/>
            <ac:spMk id="15" creationId="{5D77B2FB-7D9E-86EB-B786-22DB36E48A91}"/>
          </ac:spMkLst>
        </pc:spChg>
        <pc:spChg chg="add mod">
          <ac:chgData name="Camila Valbuena" userId="96dddc91-0310-4901-8518-e86c705ebbd6" providerId="ADAL" clId="{289F64AF-0AA4-47A6-8069-0B1D64FC8B4F}" dt="2024-07-08T20:33:44.646" v="1220"/>
          <ac:spMkLst>
            <pc:docMk/>
            <pc:sldMk cId="1896750011" sldId="2147482720"/>
            <ac:spMk id="16" creationId="{98104105-7F49-D7C6-0BB0-6573A8FDAA69}"/>
          </ac:spMkLst>
        </pc:spChg>
        <pc:spChg chg="add mod">
          <ac:chgData name="Camila Valbuena" userId="96dddc91-0310-4901-8518-e86c705ebbd6" providerId="ADAL" clId="{289F64AF-0AA4-47A6-8069-0B1D64FC8B4F}" dt="2024-07-08T20:33:44.646" v="1220"/>
          <ac:spMkLst>
            <pc:docMk/>
            <pc:sldMk cId="1896750011" sldId="2147482720"/>
            <ac:spMk id="17" creationId="{B25DA1A8-AB65-93EF-2588-B9E96D5E6182}"/>
          </ac:spMkLst>
        </pc:spChg>
        <pc:spChg chg="add mod">
          <ac:chgData name="Camila Valbuena" userId="96dddc91-0310-4901-8518-e86c705ebbd6" providerId="ADAL" clId="{289F64AF-0AA4-47A6-8069-0B1D64FC8B4F}" dt="2024-07-08T20:33:44.646" v="1220"/>
          <ac:spMkLst>
            <pc:docMk/>
            <pc:sldMk cId="1896750011" sldId="2147482720"/>
            <ac:spMk id="18" creationId="{F9857EFC-710E-6686-604E-3360E68D08CB}"/>
          </ac:spMkLst>
        </pc:spChg>
        <pc:spChg chg="add mod">
          <ac:chgData name="Camila Valbuena" userId="96dddc91-0310-4901-8518-e86c705ebbd6" providerId="ADAL" clId="{289F64AF-0AA4-47A6-8069-0B1D64FC8B4F}" dt="2024-07-08T20:33:44.646" v="1220"/>
          <ac:spMkLst>
            <pc:docMk/>
            <pc:sldMk cId="1896750011" sldId="2147482720"/>
            <ac:spMk id="19" creationId="{2F6AC7A7-8143-D2EB-2BDD-3110BBF6A5F0}"/>
          </ac:spMkLst>
        </pc:spChg>
        <pc:spChg chg="add mod">
          <ac:chgData name="Camila Valbuena" userId="96dddc91-0310-4901-8518-e86c705ebbd6" providerId="ADAL" clId="{289F64AF-0AA4-47A6-8069-0B1D64FC8B4F}" dt="2024-07-08T20:33:44.646" v="1220"/>
          <ac:spMkLst>
            <pc:docMk/>
            <pc:sldMk cId="1896750011" sldId="2147482720"/>
            <ac:spMk id="20" creationId="{3654BA4F-586C-9666-40D4-FAEF21917D36}"/>
          </ac:spMkLst>
        </pc:spChg>
        <pc:spChg chg="add mod">
          <ac:chgData name="Camila Valbuena" userId="96dddc91-0310-4901-8518-e86c705ebbd6" providerId="ADAL" clId="{289F64AF-0AA4-47A6-8069-0B1D64FC8B4F}" dt="2024-07-08T20:33:44.646" v="1220"/>
          <ac:spMkLst>
            <pc:docMk/>
            <pc:sldMk cId="1896750011" sldId="2147482720"/>
            <ac:spMk id="21" creationId="{77F329F5-70E7-E9F5-C50E-FEC586A8933C}"/>
          </ac:spMkLst>
        </pc:spChg>
        <pc:spChg chg="del">
          <ac:chgData name="Camila Valbuena" userId="96dddc91-0310-4901-8518-e86c705ebbd6" providerId="ADAL" clId="{289F64AF-0AA4-47A6-8069-0B1D64FC8B4F}" dt="2024-07-08T20:33:19.577" v="1219" actId="478"/>
          <ac:spMkLst>
            <pc:docMk/>
            <pc:sldMk cId="1896750011" sldId="2147482720"/>
            <ac:spMk id="23" creationId="{594335AA-3DF7-CF8E-2A35-0142895CC036}"/>
          </ac:spMkLst>
        </pc:spChg>
        <pc:spChg chg="del">
          <ac:chgData name="Camila Valbuena" userId="96dddc91-0310-4901-8518-e86c705ebbd6" providerId="ADAL" clId="{289F64AF-0AA4-47A6-8069-0B1D64FC8B4F}" dt="2024-07-08T20:33:19.577" v="1219" actId="478"/>
          <ac:spMkLst>
            <pc:docMk/>
            <pc:sldMk cId="1896750011" sldId="2147482720"/>
            <ac:spMk id="24" creationId="{75C32E1D-096F-C14E-7789-0F7B44956912}"/>
          </ac:spMkLst>
        </pc:spChg>
        <pc:spChg chg="del">
          <ac:chgData name="Camila Valbuena" userId="96dddc91-0310-4901-8518-e86c705ebbd6" providerId="ADAL" clId="{289F64AF-0AA4-47A6-8069-0B1D64FC8B4F}" dt="2024-07-08T20:33:19.577" v="1219" actId="478"/>
          <ac:spMkLst>
            <pc:docMk/>
            <pc:sldMk cId="1896750011" sldId="2147482720"/>
            <ac:spMk id="26" creationId="{5D2455F6-66AA-E41C-58FA-1830342EB00C}"/>
          </ac:spMkLst>
        </pc:spChg>
        <pc:spChg chg="del">
          <ac:chgData name="Camila Valbuena" userId="96dddc91-0310-4901-8518-e86c705ebbd6" providerId="ADAL" clId="{289F64AF-0AA4-47A6-8069-0B1D64FC8B4F}" dt="2024-07-08T20:33:19.577" v="1219" actId="478"/>
          <ac:spMkLst>
            <pc:docMk/>
            <pc:sldMk cId="1896750011" sldId="2147482720"/>
            <ac:spMk id="28" creationId="{9BA59F76-EE84-F435-C266-1723B73BB617}"/>
          </ac:spMkLst>
        </pc:spChg>
        <pc:spChg chg="add mod">
          <ac:chgData name="Camila Valbuena" userId="96dddc91-0310-4901-8518-e86c705ebbd6" providerId="ADAL" clId="{289F64AF-0AA4-47A6-8069-0B1D64FC8B4F}" dt="2024-07-08T20:33:44.646" v="1220"/>
          <ac:spMkLst>
            <pc:docMk/>
            <pc:sldMk cId="1896750011" sldId="2147482720"/>
            <ac:spMk id="30" creationId="{5536DD83-693C-68B5-A4E9-729E90C3CACA}"/>
          </ac:spMkLst>
        </pc:spChg>
        <pc:spChg chg="add mod">
          <ac:chgData name="Camila Valbuena" userId="96dddc91-0310-4901-8518-e86c705ebbd6" providerId="ADAL" clId="{289F64AF-0AA4-47A6-8069-0B1D64FC8B4F}" dt="2024-07-08T20:33:44.646" v="1220"/>
          <ac:spMkLst>
            <pc:docMk/>
            <pc:sldMk cId="1896750011" sldId="2147482720"/>
            <ac:spMk id="31" creationId="{13747997-A60E-4660-6AF4-4FBC5E3DB954}"/>
          </ac:spMkLst>
        </pc:spChg>
        <pc:spChg chg="add mod">
          <ac:chgData name="Camila Valbuena" userId="96dddc91-0310-4901-8518-e86c705ebbd6" providerId="ADAL" clId="{289F64AF-0AA4-47A6-8069-0B1D64FC8B4F}" dt="2024-07-08T20:33:44.646" v="1220"/>
          <ac:spMkLst>
            <pc:docMk/>
            <pc:sldMk cId="1896750011" sldId="2147482720"/>
            <ac:spMk id="32" creationId="{3920EA5F-BB60-2447-BE62-71F3C61EE914}"/>
          </ac:spMkLst>
        </pc:spChg>
        <pc:spChg chg="add mod">
          <ac:chgData name="Camila Valbuena" userId="96dddc91-0310-4901-8518-e86c705ebbd6" providerId="ADAL" clId="{289F64AF-0AA4-47A6-8069-0B1D64FC8B4F}" dt="2024-07-08T20:33:44.646" v="1220"/>
          <ac:spMkLst>
            <pc:docMk/>
            <pc:sldMk cId="1896750011" sldId="2147482720"/>
            <ac:spMk id="33" creationId="{6C3939BE-F82A-7CCB-7FB8-B1BAE5E4907D}"/>
          </ac:spMkLst>
        </pc:spChg>
        <pc:spChg chg="add mod">
          <ac:chgData name="Camila Valbuena" userId="96dddc91-0310-4901-8518-e86c705ebbd6" providerId="ADAL" clId="{289F64AF-0AA4-47A6-8069-0B1D64FC8B4F}" dt="2024-07-08T20:33:44.646" v="1220"/>
          <ac:spMkLst>
            <pc:docMk/>
            <pc:sldMk cId="1896750011" sldId="2147482720"/>
            <ac:spMk id="34" creationId="{078E854D-0AA7-4766-D576-81E470DE57CD}"/>
          </ac:spMkLst>
        </pc:spChg>
        <pc:spChg chg="add mod">
          <ac:chgData name="Camila Valbuena" userId="96dddc91-0310-4901-8518-e86c705ebbd6" providerId="ADAL" clId="{289F64AF-0AA4-47A6-8069-0B1D64FC8B4F}" dt="2024-07-08T20:33:44.646" v="1220"/>
          <ac:spMkLst>
            <pc:docMk/>
            <pc:sldMk cId="1896750011" sldId="2147482720"/>
            <ac:spMk id="35" creationId="{9AEE4203-16AF-73E7-2FB7-A8028F2483D2}"/>
          </ac:spMkLst>
        </pc:spChg>
        <pc:spChg chg="add mod">
          <ac:chgData name="Camila Valbuena" userId="96dddc91-0310-4901-8518-e86c705ebbd6" providerId="ADAL" clId="{289F64AF-0AA4-47A6-8069-0B1D64FC8B4F}" dt="2024-07-08T20:33:44.646" v="1220"/>
          <ac:spMkLst>
            <pc:docMk/>
            <pc:sldMk cId="1896750011" sldId="2147482720"/>
            <ac:spMk id="36" creationId="{6738E34A-477A-341E-698B-EA1B7D788F31}"/>
          </ac:spMkLst>
        </pc:spChg>
        <pc:spChg chg="add mod">
          <ac:chgData name="Camila Valbuena" userId="96dddc91-0310-4901-8518-e86c705ebbd6" providerId="ADAL" clId="{289F64AF-0AA4-47A6-8069-0B1D64FC8B4F}" dt="2024-07-08T20:33:44.646" v="1220"/>
          <ac:spMkLst>
            <pc:docMk/>
            <pc:sldMk cId="1896750011" sldId="2147482720"/>
            <ac:spMk id="37" creationId="{CCBF4442-82D8-070A-FAB1-1E9285B93626}"/>
          </ac:spMkLst>
        </pc:spChg>
        <pc:spChg chg="add mod">
          <ac:chgData name="Camila Valbuena" userId="96dddc91-0310-4901-8518-e86c705ebbd6" providerId="ADAL" clId="{289F64AF-0AA4-47A6-8069-0B1D64FC8B4F}" dt="2024-07-08T20:33:44.646" v="1220"/>
          <ac:spMkLst>
            <pc:docMk/>
            <pc:sldMk cId="1896750011" sldId="2147482720"/>
            <ac:spMk id="38" creationId="{660CA8C5-6DA5-AD6D-7098-52677DAD9D59}"/>
          </ac:spMkLst>
        </pc:spChg>
        <pc:spChg chg="add del mod ord">
          <ac:chgData name="Camila Valbuena" userId="96dddc91-0310-4901-8518-e86c705ebbd6" providerId="ADAL" clId="{289F64AF-0AA4-47A6-8069-0B1D64FC8B4F}" dt="2024-07-08T20:34:54.938" v="1240" actId="167"/>
          <ac:spMkLst>
            <pc:docMk/>
            <pc:sldMk cId="1896750011" sldId="2147482720"/>
            <ac:spMk id="39" creationId="{FA06EC69-3703-C1DA-4DA6-8F714E6C6FFF}"/>
          </ac:spMkLst>
        </pc:spChg>
        <pc:spChg chg="add mod">
          <ac:chgData name="Camila Valbuena" userId="96dddc91-0310-4901-8518-e86c705ebbd6" providerId="ADAL" clId="{289F64AF-0AA4-47A6-8069-0B1D64FC8B4F}" dt="2024-07-08T20:33:54.661" v="1223" actId="1076"/>
          <ac:spMkLst>
            <pc:docMk/>
            <pc:sldMk cId="1896750011" sldId="2147482720"/>
            <ac:spMk id="40" creationId="{29713034-F4F4-DE21-0A16-196997D3FD68}"/>
          </ac:spMkLst>
        </pc:spChg>
        <pc:spChg chg="add mod">
          <ac:chgData name="Camila Valbuena" userId="96dddc91-0310-4901-8518-e86c705ebbd6" providerId="ADAL" clId="{289F64AF-0AA4-47A6-8069-0B1D64FC8B4F}" dt="2024-07-08T20:33:54.661" v="1223" actId="1076"/>
          <ac:spMkLst>
            <pc:docMk/>
            <pc:sldMk cId="1896750011" sldId="2147482720"/>
            <ac:spMk id="41" creationId="{69EDE552-0ACE-6C2F-5C9B-800CEFF8C5DA}"/>
          </ac:spMkLst>
        </pc:spChg>
        <pc:spChg chg="add mod">
          <ac:chgData name="Camila Valbuena" userId="96dddc91-0310-4901-8518-e86c705ebbd6" providerId="ADAL" clId="{289F64AF-0AA4-47A6-8069-0B1D64FC8B4F}" dt="2024-07-08T20:33:54.661" v="1223" actId="1076"/>
          <ac:spMkLst>
            <pc:docMk/>
            <pc:sldMk cId="1896750011" sldId="2147482720"/>
            <ac:spMk id="42" creationId="{1343C2D1-FB18-4C1D-043D-95C1071066DC}"/>
          </ac:spMkLst>
        </pc:spChg>
        <pc:spChg chg="add mod">
          <ac:chgData name="Camila Valbuena" userId="96dddc91-0310-4901-8518-e86c705ebbd6" providerId="ADAL" clId="{289F64AF-0AA4-47A6-8069-0B1D64FC8B4F}" dt="2024-07-08T20:35:02.572" v="1242" actId="1076"/>
          <ac:spMkLst>
            <pc:docMk/>
            <pc:sldMk cId="1896750011" sldId="2147482720"/>
            <ac:spMk id="43" creationId="{9CBF1A7A-C132-A8E8-1E48-8B1375B4FAE9}"/>
          </ac:spMkLst>
        </pc:spChg>
        <pc:spChg chg="add mod">
          <ac:chgData name="Camila Valbuena" userId="96dddc91-0310-4901-8518-e86c705ebbd6" providerId="ADAL" clId="{289F64AF-0AA4-47A6-8069-0B1D64FC8B4F}" dt="2024-07-08T20:33:54.661" v="1223" actId="1076"/>
          <ac:spMkLst>
            <pc:docMk/>
            <pc:sldMk cId="1896750011" sldId="2147482720"/>
            <ac:spMk id="44" creationId="{F077637B-6CA2-7A41-FED0-4E06D967A71C}"/>
          </ac:spMkLst>
        </pc:spChg>
        <pc:spChg chg="add mod">
          <ac:chgData name="Camila Valbuena" userId="96dddc91-0310-4901-8518-e86c705ebbd6" providerId="ADAL" clId="{289F64AF-0AA4-47A6-8069-0B1D64FC8B4F}" dt="2024-07-08T20:33:54.661" v="1223" actId="1076"/>
          <ac:spMkLst>
            <pc:docMk/>
            <pc:sldMk cId="1896750011" sldId="2147482720"/>
            <ac:spMk id="45" creationId="{B3121AD8-E330-2479-9EF7-A5982D856097}"/>
          </ac:spMkLst>
        </pc:spChg>
        <pc:spChg chg="add mod">
          <ac:chgData name="Camila Valbuena" userId="96dddc91-0310-4901-8518-e86c705ebbd6" providerId="ADAL" clId="{289F64AF-0AA4-47A6-8069-0B1D64FC8B4F}" dt="2024-07-08T20:34:02.961" v="1224" actId="164"/>
          <ac:spMkLst>
            <pc:docMk/>
            <pc:sldMk cId="1896750011" sldId="2147482720"/>
            <ac:spMk id="46" creationId="{BF871102-1B75-8E2E-7A00-724E071B3C06}"/>
          </ac:spMkLst>
        </pc:spChg>
        <pc:spChg chg="add mod">
          <ac:chgData name="Camila Valbuena" userId="96dddc91-0310-4901-8518-e86c705ebbd6" providerId="ADAL" clId="{289F64AF-0AA4-47A6-8069-0B1D64FC8B4F}" dt="2024-07-08T20:34:02.961" v="1224" actId="164"/>
          <ac:spMkLst>
            <pc:docMk/>
            <pc:sldMk cId="1896750011" sldId="2147482720"/>
            <ac:spMk id="47" creationId="{B7766F6C-1DFC-1EB2-74AA-E53ABAB403B8}"/>
          </ac:spMkLst>
        </pc:spChg>
        <pc:spChg chg="add mod">
          <ac:chgData name="Camila Valbuena" userId="96dddc91-0310-4901-8518-e86c705ebbd6" providerId="ADAL" clId="{289F64AF-0AA4-47A6-8069-0B1D64FC8B4F}" dt="2024-07-08T20:34:02.961" v="1224" actId="164"/>
          <ac:spMkLst>
            <pc:docMk/>
            <pc:sldMk cId="1896750011" sldId="2147482720"/>
            <ac:spMk id="48" creationId="{799084BA-1EA4-43DF-6133-80115344A98A}"/>
          </ac:spMkLst>
        </pc:spChg>
        <pc:spChg chg="mod">
          <ac:chgData name="Camila Valbuena" userId="96dddc91-0310-4901-8518-e86c705ebbd6" providerId="ADAL" clId="{289F64AF-0AA4-47A6-8069-0B1D64FC8B4F}" dt="2024-07-08T20:34:09.547" v="1229" actId="1076"/>
          <ac:spMkLst>
            <pc:docMk/>
            <pc:sldMk cId="1896750011" sldId="2147482720"/>
            <ac:spMk id="49" creationId="{D7EEAEA9-38B6-355F-4F91-E314DF217F27}"/>
          </ac:spMkLst>
        </pc:spChg>
        <pc:spChg chg="add mod">
          <ac:chgData name="Camila Valbuena" userId="96dddc91-0310-4901-8518-e86c705ebbd6" providerId="ADAL" clId="{289F64AF-0AA4-47A6-8069-0B1D64FC8B4F}" dt="2024-07-08T20:34:02.961" v="1224" actId="164"/>
          <ac:spMkLst>
            <pc:docMk/>
            <pc:sldMk cId="1896750011" sldId="2147482720"/>
            <ac:spMk id="50" creationId="{AAB3C4F8-AAEE-2B0E-7D2A-92682E3A4721}"/>
          </ac:spMkLst>
        </pc:spChg>
        <pc:spChg chg="del">
          <ac:chgData name="Camila Valbuena" userId="96dddc91-0310-4901-8518-e86c705ebbd6" providerId="ADAL" clId="{289F64AF-0AA4-47A6-8069-0B1D64FC8B4F}" dt="2024-07-08T20:33:19.577" v="1219" actId="478"/>
          <ac:spMkLst>
            <pc:docMk/>
            <pc:sldMk cId="1896750011" sldId="2147482720"/>
            <ac:spMk id="51" creationId="{7B84341A-1094-A751-C490-35E8D02CE41A}"/>
          </ac:spMkLst>
        </pc:spChg>
        <pc:spChg chg="add mod">
          <ac:chgData name="Camila Valbuena" userId="96dddc91-0310-4901-8518-e86c705ebbd6" providerId="ADAL" clId="{289F64AF-0AA4-47A6-8069-0B1D64FC8B4F}" dt="2024-07-08T20:34:02.961" v="1224" actId="164"/>
          <ac:spMkLst>
            <pc:docMk/>
            <pc:sldMk cId="1896750011" sldId="2147482720"/>
            <ac:spMk id="52" creationId="{BE3CEC99-2DE1-0768-F385-7A1E3AE5BF4A}"/>
          </ac:spMkLst>
        </pc:spChg>
        <pc:spChg chg="add mod">
          <ac:chgData name="Camila Valbuena" userId="96dddc91-0310-4901-8518-e86c705ebbd6" providerId="ADAL" clId="{289F64AF-0AA4-47A6-8069-0B1D64FC8B4F}" dt="2024-07-08T20:34:02.961" v="1224" actId="164"/>
          <ac:spMkLst>
            <pc:docMk/>
            <pc:sldMk cId="1896750011" sldId="2147482720"/>
            <ac:spMk id="53" creationId="{FF9239A3-E0ED-9762-28B5-A370A91380C3}"/>
          </ac:spMkLst>
        </pc:spChg>
        <pc:spChg chg="add mod">
          <ac:chgData name="Camila Valbuena" userId="96dddc91-0310-4901-8518-e86c705ebbd6" providerId="ADAL" clId="{289F64AF-0AA4-47A6-8069-0B1D64FC8B4F}" dt="2024-07-08T20:34:02.961" v="1224" actId="164"/>
          <ac:spMkLst>
            <pc:docMk/>
            <pc:sldMk cId="1896750011" sldId="2147482720"/>
            <ac:spMk id="54" creationId="{40753018-0AEB-8291-DE8A-2A07D62568CE}"/>
          </ac:spMkLst>
        </pc:spChg>
        <pc:spChg chg="add mod">
          <ac:chgData name="Camila Valbuena" userId="96dddc91-0310-4901-8518-e86c705ebbd6" providerId="ADAL" clId="{289F64AF-0AA4-47A6-8069-0B1D64FC8B4F}" dt="2024-07-08T20:34:18.286" v="1230" actId="164"/>
          <ac:spMkLst>
            <pc:docMk/>
            <pc:sldMk cId="1896750011" sldId="2147482720"/>
            <ac:spMk id="55" creationId="{C1E0FA12-BDC6-04BB-4682-7AC6726796FE}"/>
          </ac:spMkLst>
        </pc:spChg>
        <pc:spChg chg="add mod">
          <ac:chgData name="Camila Valbuena" userId="96dddc91-0310-4901-8518-e86c705ebbd6" providerId="ADAL" clId="{289F64AF-0AA4-47A6-8069-0B1D64FC8B4F}" dt="2024-07-08T20:34:18.286" v="1230" actId="164"/>
          <ac:spMkLst>
            <pc:docMk/>
            <pc:sldMk cId="1896750011" sldId="2147482720"/>
            <ac:spMk id="56" creationId="{41D6AB37-9882-5594-6E4F-9E1224BC2685}"/>
          </ac:spMkLst>
        </pc:spChg>
        <pc:spChg chg="add mod">
          <ac:chgData name="Camila Valbuena" userId="96dddc91-0310-4901-8518-e86c705ebbd6" providerId="ADAL" clId="{289F64AF-0AA4-47A6-8069-0B1D64FC8B4F}" dt="2024-07-08T20:34:18.286" v="1230" actId="164"/>
          <ac:spMkLst>
            <pc:docMk/>
            <pc:sldMk cId="1896750011" sldId="2147482720"/>
            <ac:spMk id="57" creationId="{01F777DA-2365-F5B9-99F7-00BC5ACEEF9F}"/>
          </ac:spMkLst>
        </pc:spChg>
        <pc:spChg chg="add mod">
          <ac:chgData name="Camila Valbuena" userId="96dddc91-0310-4901-8518-e86c705ebbd6" providerId="ADAL" clId="{289F64AF-0AA4-47A6-8069-0B1D64FC8B4F}" dt="2024-07-08T20:34:18.286" v="1230" actId="164"/>
          <ac:spMkLst>
            <pc:docMk/>
            <pc:sldMk cId="1896750011" sldId="2147482720"/>
            <ac:spMk id="58" creationId="{80067F41-1D94-1FF2-2711-270D250AB995}"/>
          </ac:spMkLst>
        </pc:spChg>
        <pc:spChg chg="add mod">
          <ac:chgData name="Camila Valbuena" userId="96dddc91-0310-4901-8518-e86c705ebbd6" providerId="ADAL" clId="{289F64AF-0AA4-47A6-8069-0B1D64FC8B4F}" dt="2024-07-08T20:34:18.286" v="1230" actId="164"/>
          <ac:spMkLst>
            <pc:docMk/>
            <pc:sldMk cId="1896750011" sldId="2147482720"/>
            <ac:spMk id="59" creationId="{6BE9C6EA-18B5-4B00-32E3-C9089EACDD32}"/>
          </ac:spMkLst>
        </pc:spChg>
        <pc:spChg chg="add mod">
          <ac:chgData name="Camila Valbuena" userId="96dddc91-0310-4901-8518-e86c705ebbd6" providerId="ADAL" clId="{289F64AF-0AA4-47A6-8069-0B1D64FC8B4F}" dt="2024-07-08T20:34:18.286" v="1230" actId="164"/>
          <ac:spMkLst>
            <pc:docMk/>
            <pc:sldMk cId="1896750011" sldId="2147482720"/>
            <ac:spMk id="60" creationId="{A12A5838-260B-541D-0FE0-598277FE14AC}"/>
          </ac:spMkLst>
        </pc:spChg>
        <pc:spChg chg="add mod">
          <ac:chgData name="Camila Valbuena" userId="96dddc91-0310-4901-8518-e86c705ebbd6" providerId="ADAL" clId="{289F64AF-0AA4-47A6-8069-0B1D64FC8B4F}" dt="2024-07-08T20:34:02.961" v="1224" actId="164"/>
          <ac:spMkLst>
            <pc:docMk/>
            <pc:sldMk cId="1896750011" sldId="2147482720"/>
            <ac:spMk id="61" creationId="{B363A1EF-42C0-5081-18A2-3DB8F8A016E7}"/>
          </ac:spMkLst>
        </pc:spChg>
        <pc:spChg chg="add mod">
          <ac:chgData name="Camila Valbuena" userId="96dddc91-0310-4901-8518-e86c705ebbd6" providerId="ADAL" clId="{289F64AF-0AA4-47A6-8069-0B1D64FC8B4F}" dt="2024-07-08T20:34:18.286" v="1230" actId="164"/>
          <ac:spMkLst>
            <pc:docMk/>
            <pc:sldMk cId="1896750011" sldId="2147482720"/>
            <ac:spMk id="62" creationId="{CA08DA0F-5DB2-E723-B94D-D7B572A0CAAE}"/>
          </ac:spMkLst>
        </pc:spChg>
        <pc:grpChg chg="add mod">
          <ac:chgData name="Camila Valbuena" userId="96dddc91-0310-4901-8518-e86c705ebbd6" providerId="ADAL" clId="{289F64AF-0AA4-47A6-8069-0B1D64FC8B4F}" dt="2024-07-08T20:34:27.306" v="1233" actId="14100"/>
          <ac:grpSpMkLst>
            <pc:docMk/>
            <pc:sldMk cId="1896750011" sldId="2147482720"/>
            <ac:grpSpMk id="63" creationId="{76254C0D-BE14-A6BF-CBAA-0753B4F7AA2B}"/>
          </ac:grpSpMkLst>
        </pc:grpChg>
        <pc:grpChg chg="add mod">
          <ac:chgData name="Camila Valbuena" userId="96dddc91-0310-4901-8518-e86c705ebbd6" providerId="ADAL" clId="{289F64AF-0AA4-47A6-8069-0B1D64FC8B4F}" dt="2024-07-08T20:34:27.306" v="1233" actId="14100"/>
          <ac:grpSpMkLst>
            <pc:docMk/>
            <pc:sldMk cId="1896750011" sldId="2147482720"/>
            <ac:grpSpMk id="2048" creationId="{8A5DA8DD-9DD8-B14B-56A0-A65929047992}"/>
          </ac:grpSpMkLst>
        </pc:grpChg>
        <pc:picChg chg="mod">
          <ac:chgData name="Camila Valbuena" userId="96dddc91-0310-4901-8518-e86c705ebbd6" providerId="ADAL" clId="{289F64AF-0AA4-47A6-8069-0B1D64FC8B4F}" dt="2024-07-08T20:33:50.801" v="1221" actId="1076"/>
          <ac:picMkLst>
            <pc:docMk/>
            <pc:sldMk cId="1896750011" sldId="2147482720"/>
            <ac:picMk id="27" creationId="{845DB089-235E-F9EF-33DE-9AA5425721ED}"/>
          </ac:picMkLst>
        </pc:picChg>
        <pc:picChg chg="mod">
          <ac:chgData name="Camila Valbuena" userId="96dddc91-0310-4901-8518-e86c705ebbd6" providerId="ADAL" clId="{289F64AF-0AA4-47A6-8069-0B1D64FC8B4F}" dt="2024-07-08T20:33:50.801" v="1221" actId="1076"/>
          <ac:picMkLst>
            <pc:docMk/>
            <pc:sldMk cId="1896750011" sldId="2147482720"/>
            <ac:picMk id="29" creationId="{2540B80D-A6D0-8F8B-39C6-0680F6AC885E}"/>
          </ac:picMkLst>
        </pc:picChg>
        <pc:cxnChg chg="mod">
          <ac:chgData name="Camila Valbuena" userId="96dddc91-0310-4901-8518-e86c705ebbd6" providerId="ADAL" clId="{289F64AF-0AA4-47A6-8069-0B1D64FC8B4F}" dt="2024-07-08T20:33:19.577" v="1219" actId="478"/>
          <ac:cxnSpMkLst>
            <pc:docMk/>
            <pc:sldMk cId="1896750011" sldId="2147482720"/>
            <ac:cxnSpMk id="25" creationId="{82D48592-FCD9-86AF-9A4D-98CD5D2927FE}"/>
          </ac:cxnSpMkLst>
        </pc:cxnChg>
      </pc:sldChg>
      <pc:sldChg chg="addSp delSp modSp mod">
        <pc:chgData name="Camila Valbuena" userId="96dddc91-0310-4901-8518-e86c705ebbd6" providerId="ADAL" clId="{289F64AF-0AA4-47A6-8069-0B1D64FC8B4F}" dt="2024-07-08T23:17:03.929" v="4758" actId="1076"/>
        <pc:sldMkLst>
          <pc:docMk/>
          <pc:sldMk cId="3573288427" sldId="2147482720"/>
        </pc:sldMkLst>
        <pc:spChg chg="del">
          <ac:chgData name="Camila Valbuena" userId="96dddc91-0310-4901-8518-e86c705ebbd6" providerId="ADAL" clId="{289F64AF-0AA4-47A6-8069-0B1D64FC8B4F}" dt="2024-07-08T22:49:46.542" v="3654" actId="478"/>
          <ac:spMkLst>
            <pc:docMk/>
            <pc:sldMk cId="3573288427" sldId="2147482720"/>
            <ac:spMk id="2" creationId="{1BF44598-CB44-EA57-5F0F-AF22AB8D52AB}"/>
          </ac:spMkLst>
        </pc:spChg>
        <pc:spChg chg="add mod">
          <ac:chgData name="Camila Valbuena" userId="96dddc91-0310-4901-8518-e86c705ebbd6" providerId="ADAL" clId="{289F64AF-0AA4-47A6-8069-0B1D64FC8B4F}" dt="2024-07-08T23:02:40.435" v="4177"/>
          <ac:spMkLst>
            <pc:docMk/>
            <pc:sldMk cId="3573288427" sldId="2147482720"/>
            <ac:spMk id="4" creationId="{6C3D70B7-4E2E-5E5A-7D7E-EE4A9E583F46}"/>
          </ac:spMkLst>
        </pc:spChg>
        <pc:spChg chg="add mod">
          <ac:chgData name="Camila Valbuena" userId="96dddc91-0310-4901-8518-e86c705ebbd6" providerId="ADAL" clId="{289F64AF-0AA4-47A6-8069-0B1D64FC8B4F}" dt="2024-07-08T22:52:54.879" v="3732"/>
          <ac:spMkLst>
            <pc:docMk/>
            <pc:sldMk cId="3573288427" sldId="2147482720"/>
            <ac:spMk id="5" creationId="{7F258C30-6765-0912-6C6B-5265FBA3AAB5}"/>
          </ac:spMkLst>
        </pc:spChg>
        <pc:spChg chg="add mod">
          <ac:chgData name="Camila Valbuena" userId="96dddc91-0310-4901-8518-e86c705ebbd6" providerId="ADAL" clId="{289F64AF-0AA4-47A6-8069-0B1D64FC8B4F}" dt="2024-07-08T22:53:34.530" v="3769" actId="790"/>
          <ac:spMkLst>
            <pc:docMk/>
            <pc:sldMk cId="3573288427" sldId="2147482720"/>
            <ac:spMk id="9" creationId="{E4B52F74-9F46-F1A1-B9A4-8ED6E7A0A735}"/>
          </ac:spMkLst>
        </pc:spChg>
        <pc:spChg chg="del">
          <ac:chgData name="Camila Valbuena" userId="96dddc91-0310-4901-8518-e86c705ebbd6" providerId="ADAL" clId="{289F64AF-0AA4-47A6-8069-0B1D64FC8B4F}" dt="2024-07-08T22:52:53.063" v="3731" actId="478"/>
          <ac:spMkLst>
            <pc:docMk/>
            <pc:sldMk cId="3573288427" sldId="2147482720"/>
            <ac:spMk id="11" creationId="{69A57AA6-77F4-61D3-ED97-05B500BCE1B7}"/>
          </ac:spMkLst>
        </pc:spChg>
        <pc:spChg chg="add mod">
          <ac:chgData name="Camila Valbuena" userId="96dddc91-0310-4901-8518-e86c705ebbd6" providerId="ADAL" clId="{289F64AF-0AA4-47A6-8069-0B1D64FC8B4F}" dt="2024-07-08T22:53:40.550" v="3772"/>
          <ac:spMkLst>
            <pc:docMk/>
            <pc:sldMk cId="3573288427" sldId="2147482720"/>
            <ac:spMk id="14" creationId="{FDD1CCBF-EB41-6C37-3A9E-9BC783EABDB2}"/>
          </ac:spMkLst>
        </pc:spChg>
        <pc:spChg chg="mod">
          <ac:chgData name="Camila Valbuena" userId="96dddc91-0310-4901-8518-e86c705ebbd6" providerId="ADAL" clId="{289F64AF-0AA4-47A6-8069-0B1D64FC8B4F}" dt="2024-07-08T23:03:45.766" v="4321" actId="20577"/>
          <ac:spMkLst>
            <pc:docMk/>
            <pc:sldMk cId="3573288427" sldId="2147482720"/>
            <ac:spMk id="15" creationId="{E1339E3C-BA00-8A1A-87BD-6AAD4EF1995B}"/>
          </ac:spMkLst>
        </pc:spChg>
        <pc:spChg chg="mod">
          <ac:chgData name="Camila Valbuena" userId="96dddc91-0310-4901-8518-e86c705ebbd6" providerId="ADAL" clId="{289F64AF-0AA4-47A6-8069-0B1D64FC8B4F}" dt="2024-07-08T22:50:26.210" v="3681" actId="1076"/>
          <ac:spMkLst>
            <pc:docMk/>
            <pc:sldMk cId="3573288427" sldId="2147482720"/>
            <ac:spMk id="192" creationId="{AB358DD3-4D52-0F22-8DE3-EC16CA46AF2B}"/>
          </ac:spMkLst>
        </pc:spChg>
        <pc:spChg chg="mod">
          <ac:chgData name="Camila Valbuena" userId="96dddc91-0310-4901-8518-e86c705ebbd6" providerId="ADAL" clId="{289F64AF-0AA4-47A6-8069-0B1D64FC8B4F}" dt="2024-07-08T22:50:41.914" v="3709" actId="20577"/>
          <ac:spMkLst>
            <pc:docMk/>
            <pc:sldMk cId="3573288427" sldId="2147482720"/>
            <ac:spMk id="193" creationId="{1EE053BD-7733-BC77-6A21-F24185BC521C}"/>
          </ac:spMkLst>
        </pc:spChg>
        <pc:spChg chg="del">
          <ac:chgData name="Camila Valbuena" userId="96dddc91-0310-4901-8518-e86c705ebbd6" providerId="ADAL" clId="{289F64AF-0AA4-47A6-8069-0B1D64FC8B4F}" dt="2024-07-08T22:52:53.063" v="3731" actId="478"/>
          <ac:spMkLst>
            <pc:docMk/>
            <pc:sldMk cId="3573288427" sldId="2147482720"/>
            <ac:spMk id="199" creationId="{B158BF8A-EB5E-D813-1DD2-A48931D7125D}"/>
          </ac:spMkLst>
        </pc:spChg>
        <pc:spChg chg="mod">
          <ac:chgData name="Camila Valbuena" userId="96dddc91-0310-4901-8518-e86c705ebbd6" providerId="ADAL" clId="{289F64AF-0AA4-47A6-8069-0B1D64FC8B4F}" dt="2024-07-08T23:03:33.165" v="4306" actId="20577"/>
          <ac:spMkLst>
            <pc:docMk/>
            <pc:sldMk cId="3573288427" sldId="2147482720"/>
            <ac:spMk id="200" creationId="{8C6AA9F5-FF9D-D505-3D6B-9A7D7F371F29}"/>
          </ac:spMkLst>
        </pc:spChg>
        <pc:spChg chg="del">
          <ac:chgData name="Camila Valbuena" userId="96dddc91-0310-4901-8518-e86c705ebbd6" providerId="ADAL" clId="{289F64AF-0AA4-47A6-8069-0B1D64FC8B4F}" dt="2024-07-08T22:51:26.393" v="3711" actId="478"/>
          <ac:spMkLst>
            <pc:docMk/>
            <pc:sldMk cId="3573288427" sldId="2147482720"/>
            <ac:spMk id="208" creationId="{DA81DA77-AF07-3822-A60C-F2F45DDD23F6}"/>
          </ac:spMkLst>
        </pc:spChg>
        <pc:spChg chg="mod">
          <ac:chgData name="Camila Valbuena" userId="96dddc91-0310-4901-8518-e86c705ebbd6" providerId="ADAL" clId="{289F64AF-0AA4-47A6-8069-0B1D64FC8B4F}" dt="2024-07-08T22:50:22.675" v="3680" actId="1076"/>
          <ac:spMkLst>
            <pc:docMk/>
            <pc:sldMk cId="3573288427" sldId="2147482720"/>
            <ac:spMk id="246" creationId="{F218F018-D89C-BA38-01AA-60E17EAC352F}"/>
          </ac:spMkLst>
        </pc:spChg>
        <pc:spChg chg="del">
          <ac:chgData name="Camila Valbuena" userId="96dddc91-0310-4901-8518-e86c705ebbd6" providerId="ADAL" clId="{289F64AF-0AA4-47A6-8069-0B1D64FC8B4F}" dt="2024-07-08T22:52:53.063" v="3731" actId="478"/>
          <ac:spMkLst>
            <pc:docMk/>
            <pc:sldMk cId="3573288427" sldId="2147482720"/>
            <ac:spMk id="254" creationId="{87300C3D-5135-1B2B-0EDC-2E9D4111661B}"/>
          </ac:spMkLst>
        </pc:spChg>
        <pc:spChg chg="mod">
          <ac:chgData name="Camila Valbuena" userId="96dddc91-0310-4901-8518-e86c705ebbd6" providerId="ADAL" clId="{289F64AF-0AA4-47A6-8069-0B1D64FC8B4F}" dt="2024-07-08T22:50:18.211" v="3679" actId="1076"/>
          <ac:spMkLst>
            <pc:docMk/>
            <pc:sldMk cId="3573288427" sldId="2147482720"/>
            <ac:spMk id="255" creationId="{BF801C84-8C0C-F330-D65F-9CB048C643ED}"/>
          </ac:spMkLst>
        </pc:spChg>
        <pc:graphicFrameChg chg="del">
          <ac:chgData name="Camila Valbuena" userId="96dddc91-0310-4901-8518-e86c705ebbd6" providerId="ADAL" clId="{289F64AF-0AA4-47A6-8069-0B1D64FC8B4F}" dt="2024-07-08T22:51:22.618" v="3710" actId="478"/>
          <ac:graphicFrameMkLst>
            <pc:docMk/>
            <pc:sldMk cId="3573288427" sldId="2147482720"/>
            <ac:graphicFrameMk id="8" creationId="{1884F077-5E13-57C2-AC4E-574E46667837}"/>
          </ac:graphicFrameMkLst>
        </pc:graphicFrameChg>
        <pc:picChg chg="del">
          <ac:chgData name="Camila Valbuena" userId="96dddc91-0310-4901-8518-e86c705ebbd6" providerId="ADAL" clId="{289F64AF-0AA4-47A6-8069-0B1D64FC8B4F}" dt="2024-07-08T23:04:00.285" v="4322" actId="478"/>
          <ac:picMkLst>
            <pc:docMk/>
            <pc:sldMk cId="3573288427" sldId="2147482720"/>
            <ac:picMk id="7" creationId="{EF0BFFCD-2DD7-F2E3-8055-D2F5F265ABFB}"/>
          </ac:picMkLst>
        </pc:picChg>
        <pc:picChg chg="del">
          <ac:chgData name="Camila Valbuena" userId="96dddc91-0310-4901-8518-e86c705ebbd6" providerId="ADAL" clId="{289F64AF-0AA4-47A6-8069-0B1D64FC8B4F}" dt="2024-07-08T23:04:01.183" v="4323" actId="478"/>
          <ac:picMkLst>
            <pc:docMk/>
            <pc:sldMk cId="3573288427" sldId="2147482720"/>
            <ac:picMk id="10" creationId="{720803BD-955D-084E-E8A6-532E92EC3198}"/>
          </ac:picMkLst>
        </pc:picChg>
        <pc:picChg chg="add mod">
          <ac:chgData name="Camila Valbuena" userId="96dddc91-0310-4901-8518-e86c705ebbd6" providerId="ADAL" clId="{289F64AF-0AA4-47A6-8069-0B1D64FC8B4F}" dt="2024-07-08T22:52:54.879" v="3732"/>
          <ac:picMkLst>
            <pc:docMk/>
            <pc:sldMk cId="3573288427" sldId="2147482720"/>
            <ac:picMk id="12" creationId="{A13091F9-E01E-0EAC-AD56-D368AE8E7656}"/>
          </ac:picMkLst>
        </pc:picChg>
        <pc:picChg chg="add mod">
          <ac:chgData name="Camila Valbuena" userId="96dddc91-0310-4901-8518-e86c705ebbd6" providerId="ADAL" clId="{289F64AF-0AA4-47A6-8069-0B1D64FC8B4F}" dt="2024-07-08T23:17:03.929" v="4758" actId="1076"/>
          <ac:picMkLst>
            <pc:docMk/>
            <pc:sldMk cId="3573288427" sldId="2147482720"/>
            <ac:picMk id="17" creationId="{F96AE2AD-65AF-F17E-734F-CD9D5E412E58}"/>
          </ac:picMkLst>
        </pc:picChg>
        <pc:picChg chg="del">
          <ac:chgData name="Camila Valbuena" userId="96dddc91-0310-4901-8518-e86c705ebbd6" providerId="ADAL" clId="{289F64AF-0AA4-47A6-8069-0B1D64FC8B4F}" dt="2024-07-08T22:52:53.063" v="3731" actId="478"/>
          <ac:picMkLst>
            <pc:docMk/>
            <pc:sldMk cId="3573288427" sldId="2147482720"/>
            <ac:picMk id="19" creationId="{C014B729-07A1-9FD9-8B39-8C2CF97F0499}"/>
          </ac:picMkLst>
        </pc:picChg>
        <pc:picChg chg="del">
          <ac:chgData name="Camila Valbuena" userId="96dddc91-0310-4901-8518-e86c705ebbd6" providerId="ADAL" clId="{289F64AF-0AA4-47A6-8069-0B1D64FC8B4F}" dt="2024-07-08T22:52:49.896" v="3730" actId="478"/>
          <ac:picMkLst>
            <pc:docMk/>
            <pc:sldMk cId="3573288427" sldId="2147482720"/>
            <ac:picMk id="4162" creationId="{BA1D9F0A-DE93-FA29-6E45-452A3B306C7F}"/>
          </ac:picMkLst>
        </pc:picChg>
        <pc:cxnChg chg="add mod">
          <ac:chgData name="Camila Valbuena" userId="96dddc91-0310-4901-8518-e86c705ebbd6" providerId="ADAL" clId="{289F64AF-0AA4-47A6-8069-0B1D64FC8B4F}" dt="2024-07-08T22:53:28.352" v="3768" actId="1076"/>
          <ac:cxnSpMkLst>
            <pc:docMk/>
            <pc:sldMk cId="3573288427" sldId="2147482720"/>
            <ac:cxnSpMk id="13" creationId="{6C930E1A-8369-DD13-7878-FB1F796678B9}"/>
          </ac:cxnSpMkLst>
        </pc:cxnChg>
      </pc:sldChg>
      <pc:sldChg chg="addSp delSp modSp add mod ord modAnim">
        <pc:chgData name="Camila Valbuena" userId="96dddc91-0310-4901-8518-e86c705ebbd6" providerId="ADAL" clId="{289F64AF-0AA4-47A6-8069-0B1D64FC8B4F}" dt="2024-07-08T23:16:33.112" v="4753" actId="14100"/>
        <pc:sldMkLst>
          <pc:docMk/>
          <pc:sldMk cId="2476773217" sldId="2147482721"/>
        </pc:sldMkLst>
        <pc:spChg chg="mod">
          <ac:chgData name="Camila Valbuena" userId="96dddc91-0310-4901-8518-e86c705ebbd6" providerId="ADAL" clId="{289F64AF-0AA4-47A6-8069-0B1D64FC8B4F}" dt="2024-07-08T23:07:30.287" v="4358" actId="14100"/>
          <ac:spMkLst>
            <pc:docMk/>
            <pc:sldMk cId="2476773217" sldId="2147482721"/>
            <ac:spMk id="3" creationId="{3F057E8E-4268-CA69-0A60-64DC96BA731D}"/>
          </ac:spMkLst>
        </pc:spChg>
        <pc:spChg chg="mod">
          <ac:chgData name="Camila Valbuena" userId="96dddc91-0310-4901-8518-e86c705ebbd6" providerId="ADAL" clId="{289F64AF-0AA4-47A6-8069-0B1D64FC8B4F}" dt="2024-07-08T23:06:41.833" v="4355"/>
          <ac:spMkLst>
            <pc:docMk/>
            <pc:sldMk cId="2476773217" sldId="2147482721"/>
            <ac:spMk id="4" creationId="{8EDBF60F-FED1-025E-4F96-7F1EBB1E76E4}"/>
          </ac:spMkLst>
        </pc:spChg>
        <pc:spChg chg="mod">
          <ac:chgData name="Camila Valbuena" userId="96dddc91-0310-4901-8518-e86c705ebbd6" providerId="ADAL" clId="{289F64AF-0AA4-47A6-8069-0B1D64FC8B4F}" dt="2024-07-08T23:06:41.833" v="4355"/>
          <ac:spMkLst>
            <pc:docMk/>
            <pc:sldMk cId="2476773217" sldId="2147482721"/>
            <ac:spMk id="6" creationId="{9F79AB46-4575-4583-0B21-126051FF7AF9}"/>
          </ac:spMkLst>
        </pc:spChg>
        <pc:spChg chg="mod">
          <ac:chgData name="Camila Valbuena" userId="96dddc91-0310-4901-8518-e86c705ebbd6" providerId="ADAL" clId="{289F64AF-0AA4-47A6-8069-0B1D64FC8B4F}" dt="2024-07-08T23:06:41.833" v="4355"/>
          <ac:spMkLst>
            <pc:docMk/>
            <pc:sldMk cId="2476773217" sldId="2147482721"/>
            <ac:spMk id="7" creationId="{07EFD97D-7CC6-039F-6CA3-022D08236021}"/>
          </ac:spMkLst>
        </pc:spChg>
        <pc:spChg chg="mod">
          <ac:chgData name="Camila Valbuena" userId="96dddc91-0310-4901-8518-e86c705ebbd6" providerId="ADAL" clId="{289F64AF-0AA4-47A6-8069-0B1D64FC8B4F}" dt="2024-07-08T23:06:41.833" v="4355"/>
          <ac:spMkLst>
            <pc:docMk/>
            <pc:sldMk cId="2476773217" sldId="2147482721"/>
            <ac:spMk id="9" creationId="{15EA0284-ED63-B5AD-67CB-CEA6FDD61F1E}"/>
          </ac:spMkLst>
        </pc:spChg>
        <pc:spChg chg="add mod">
          <ac:chgData name="Camila Valbuena" userId="96dddc91-0310-4901-8518-e86c705ebbd6" providerId="ADAL" clId="{289F64AF-0AA4-47A6-8069-0B1D64FC8B4F}" dt="2024-07-08T23:15:12.129" v="4700" actId="1076"/>
          <ac:spMkLst>
            <pc:docMk/>
            <pc:sldMk cId="2476773217" sldId="2147482721"/>
            <ac:spMk id="10" creationId="{E703D42D-9276-2EE5-36EB-3BC4A243D074}"/>
          </ac:spMkLst>
        </pc:spChg>
        <pc:spChg chg="add mod">
          <ac:chgData name="Camila Valbuena" userId="96dddc91-0310-4901-8518-e86c705ebbd6" providerId="ADAL" clId="{289F64AF-0AA4-47A6-8069-0B1D64FC8B4F}" dt="2024-07-08T23:15:08.506" v="4699" actId="554"/>
          <ac:spMkLst>
            <pc:docMk/>
            <pc:sldMk cId="2476773217" sldId="2147482721"/>
            <ac:spMk id="11" creationId="{FC57A4D9-6AE6-2536-A9F3-191FF0CC6DF3}"/>
          </ac:spMkLst>
        </pc:spChg>
        <pc:spChg chg="add mod">
          <ac:chgData name="Camila Valbuena" userId="96dddc91-0310-4901-8518-e86c705ebbd6" providerId="ADAL" clId="{289F64AF-0AA4-47A6-8069-0B1D64FC8B4F}" dt="2024-07-08T23:16:14.543" v="4720" actId="14100"/>
          <ac:spMkLst>
            <pc:docMk/>
            <pc:sldMk cId="2476773217" sldId="2147482721"/>
            <ac:spMk id="12" creationId="{3183BA61-A289-BDF4-40BB-E40073CDAA05}"/>
          </ac:spMkLst>
        </pc:spChg>
        <pc:spChg chg="add mod">
          <ac:chgData name="Camila Valbuena" userId="96dddc91-0310-4901-8518-e86c705ebbd6" providerId="ADAL" clId="{289F64AF-0AA4-47A6-8069-0B1D64FC8B4F}" dt="2024-07-08T23:16:26.138" v="4752" actId="1035"/>
          <ac:spMkLst>
            <pc:docMk/>
            <pc:sldMk cId="2476773217" sldId="2147482721"/>
            <ac:spMk id="13" creationId="{2C81D56E-0AD9-2F16-49A0-D01418BFB7FE}"/>
          </ac:spMkLst>
        </pc:spChg>
        <pc:spChg chg="add mod">
          <ac:chgData name="Camila Valbuena" userId="96dddc91-0310-4901-8518-e86c705ebbd6" providerId="ADAL" clId="{289F64AF-0AA4-47A6-8069-0B1D64FC8B4F}" dt="2024-07-08T23:14:06.616" v="4678" actId="1076"/>
          <ac:spMkLst>
            <pc:docMk/>
            <pc:sldMk cId="2476773217" sldId="2147482721"/>
            <ac:spMk id="14" creationId="{B278F535-E884-7CF7-D9E6-9A87ECB43C98}"/>
          </ac:spMkLst>
        </pc:spChg>
        <pc:spChg chg="add mod">
          <ac:chgData name="Camila Valbuena" userId="96dddc91-0310-4901-8518-e86c705ebbd6" providerId="ADAL" clId="{289F64AF-0AA4-47A6-8069-0B1D64FC8B4F}" dt="2024-07-08T23:15:15.034" v="4701" actId="1076"/>
          <ac:spMkLst>
            <pc:docMk/>
            <pc:sldMk cId="2476773217" sldId="2147482721"/>
            <ac:spMk id="15" creationId="{BB8A9699-A7FF-4330-61EE-CD0420D1A138}"/>
          </ac:spMkLst>
        </pc:spChg>
        <pc:spChg chg="add mod">
          <ac:chgData name="Camila Valbuena" userId="96dddc91-0310-4901-8518-e86c705ebbd6" providerId="ADAL" clId="{289F64AF-0AA4-47A6-8069-0B1D64FC8B4F}" dt="2024-07-08T23:15:08.506" v="4699" actId="554"/>
          <ac:spMkLst>
            <pc:docMk/>
            <pc:sldMk cId="2476773217" sldId="2147482721"/>
            <ac:spMk id="16" creationId="{5808DC51-1C40-C000-FBC7-D1C67F5E3CA4}"/>
          </ac:spMkLst>
        </pc:spChg>
        <pc:spChg chg="add mod">
          <ac:chgData name="Camila Valbuena" userId="96dddc91-0310-4901-8518-e86c705ebbd6" providerId="ADAL" clId="{289F64AF-0AA4-47A6-8069-0B1D64FC8B4F}" dt="2024-07-08T23:15:17.336" v="4702" actId="1076"/>
          <ac:spMkLst>
            <pc:docMk/>
            <pc:sldMk cId="2476773217" sldId="2147482721"/>
            <ac:spMk id="17" creationId="{D8168D74-2763-7951-129F-F39C9B645D44}"/>
          </ac:spMkLst>
        </pc:spChg>
        <pc:spChg chg="add mod">
          <ac:chgData name="Camila Valbuena" userId="96dddc91-0310-4901-8518-e86c705ebbd6" providerId="ADAL" clId="{289F64AF-0AA4-47A6-8069-0B1D64FC8B4F}" dt="2024-07-08T23:15:08.506" v="4699" actId="554"/>
          <ac:spMkLst>
            <pc:docMk/>
            <pc:sldMk cId="2476773217" sldId="2147482721"/>
            <ac:spMk id="18" creationId="{94B2AD3D-4111-49ED-9EE5-26B42EF92B2A}"/>
          </ac:spMkLst>
        </pc:spChg>
        <pc:spChg chg="add mod">
          <ac:chgData name="Camila Valbuena" userId="96dddc91-0310-4901-8518-e86c705ebbd6" providerId="ADAL" clId="{289F64AF-0AA4-47A6-8069-0B1D64FC8B4F}" dt="2024-07-08T23:16:26.138" v="4752" actId="1035"/>
          <ac:spMkLst>
            <pc:docMk/>
            <pc:sldMk cId="2476773217" sldId="2147482721"/>
            <ac:spMk id="19" creationId="{2873CFE9-D03A-75A0-41CD-6A25AEA5363D}"/>
          </ac:spMkLst>
        </pc:spChg>
        <pc:spChg chg="add mod">
          <ac:chgData name="Camila Valbuena" userId="96dddc91-0310-4901-8518-e86c705ebbd6" providerId="ADAL" clId="{289F64AF-0AA4-47A6-8069-0B1D64FC8B4F}" dt="2024-07-08T23:16:26.138" v="4752" actId="1035"/>
          <ac:spMkLst>
            <pc:docMk/>
            <pc:sldMk cId="2476773217" sldId="2147482721"/>
            <ac:spMk id="20" creationId="{72FE6E52-59F6-9D59-1F9A-337AF1BB903E}"/>
          </ac:spMkLst>
        </pc:spChg>
        <pc:spChg chg="add mod">
          <ac:chgData name="Camila Valbuena" userId="96dddc91-0310-4901-8518-e86c705ebbd6" providerId="ADAL" clId="{289F64AF-0AA4-47A6-8069-0B1D64FC8B4F}" dt="2024-07-08T23:16:26.138" v="4752" actId="1035"/>
          <ac:spMkLst>
            <pc:docMk/>
            <pc:sldMk cId="2476773217" sldId="2147482721"/>
            <ac:spMk id="22" creationId="{08591055-8488-8EB5-9479-0B1C21FD1347}"/>
          </ac:spMkLst>
        </pc:spChg>
        <pc:spChg chg="add mod">
          <ac:chgData name="Camila Valbuena" userId="96dddc91-0310-4901-8518-e86c705ebbd6" providerId="ADAL" clId="{289F64AF-0AA4-47A6-8069-0B1D64FC8B4F}" dt="2024-07-08T23:15:08.506" v="4699" actId="554"/>
          <ac:spMkLst>
            <pc:docMk/>
            <pc:sldMk cId="2476773217" sldId="2147482721"/>
            <ac:spMk id="24" creationId="{59A3282F-B8A0-F8E0-74AF-D680B2011970}"/>
          </ac:spMkLst>
        </pc:spChg>
        <pc:spChg chg="del">
          <ac:chgData name="Camila Valbuena" userId="96dddc91-0310-4901-8518-e86c705ebbd6" providerId="ADAL" clId="{289F64AF-0AA4-47A6-8069-0B1D64FC8B4F}" dt="2024-07-08T23:06:00.370" v="4340" actId="478"/>
          <ac:spMkLst>
            <pc:docMk/>
            <pc:sldMk cId="2476773217" sldId="2147482721"/>
            <ac:spMk id="40" creationId="{C57BFCAF-92E0-3E4F-5CEE-70A9DBF6C04A}"/>
          </ac:spMkLst>
        </pc:spChg>
        <pc:spChg chg="del">
          <ac:chgData name="Camila Valbuena" userId="96dddc91-0310-4901-8518-e86c705ebbd6" providerId="ADAL" clId="{289F64AF-0AA4-47A6-8069-0B1D64FC8B4F}" dt="2024-07-08T23:06:00.370" v="4340" actId="478"/>
          <ac:spMkLst>
            <pc:docMk/>
            <pc:sldMk cId="2476773217" sldId="2147482721"/>
            <ac:spMk id="41" creationId="{5A86F2E6-57D4-2303-F9A8-043EAD5B922F}"/>
          </ac:spMkLst>
        </pc:spChg>
        <pc:spChg chg="del">
          <ac:chgData name="Camila Valbuena" userId="96dddc91-0310-4901-8518-e86c705ebbd6" providerId="ADAL" clId="{289F64AF-0AA4-47A6-8069-0B1D64FC8B4F}" dt="2024-07-08T23:06:00.370" v="4340" actId="478"/>
          <ac:spMkLst>
            <pc:docMk/>
            <pc:sldMk cId="2476773217" sldId="2147482721"/>
            <ac:spMk id="42" creationId="{3DE63C5B-1195-5E92-134A-016DC6F076F8}"/>
          </ac:spMkLst>
        </pc:spChg>
        <pc:spChg chg="del">
          <ac:chgData name="Camila Valbuena" userId="96dddc91-0310-4901-8518-e86c705ebbd6" providerId="ADAL" clId="{289F64AF-0AA4-47A6-8069-0B1D64FC8B4F}" dt="2024-07-08T23:06:00.370" v="4340" actId="478"/>
          <ac:spMkLst>
            <pc:docMk/>
            <pc:sldMk cId="2476773217" sldId="2147482721"/>
            <ac:spMk id="43" creationId="{478DB20A-C9F6-CBF9-ACE7-48ED2D23CB54}"/>
          </ac:spMkLst>
        </pc:spChg>
        <pc:spChg chg="del">
          <ac:chgData name="Camila Valbuena" userId="96dddc91-0310-4901-8518-e86c705ebbd6" providerId="ADAL" clId="{289F64AF-0AA4-47A6-8069-0B1D64FC8B4F}" dt="2024-07-08T23:06:00.370" v="4340" actId="478"/>
          <ac:spMkLst>
            <pc:docMk/>
            <pc:sldMk cId="2476773217" sldId="2147482721"/>
            <ac:spMk id="44" creationId="{1049C68B-0A14-AF6F-9C99-5678BAB0AA29}"/>
          </ac:spMkLst>
        </pc:spChg>
        <pc:spChg chg="del">
          <ac:chgData name="Camila Valbuena" userId="96dddc91-0310-4901-8518-e86c705ebbd6" providerId="ADAL" clId="{289F64AF-0AA4-47A6-8069-0B1D64FC8B4F}" dt="2024-07-08T23:06:00.370" v="4340" actId="478"/>
          <ac:spMkLst>
            <pc:docMk/>
            <pc:sldMk cId="2476773217" sldId="2147482721"/>
            <ac:spMk id="45" creationId="{2508A0D4-F1D8-B815-720D-020ABCC4C6E2}"/>
          </ac:spMkLst>
        </pc:spChg>
        <pc:spChg chg="del">
          <ac:chgData name="Camila Valbuena" userId="96dddc91-0310-4901-8518-e86c705ebbd6" providerId="ADAL" clId="{289F64AF-0AA4-47A6-8069-0B1D64FC8B4F}" dt="2024-07-08T23:06:00.370" v="4340" actId="478"/>
          <ac:spMkLst>
            <pc:docMk/>
            <pc:sldMk cId="2476773217" sldId="2147482721"/>
            <ac:spMk id="46" creationId="{A4866096-12AC-3658-517C-95E5A9F6D3C7}"/>
          </ac:spMkLst>
        </pc:spChg>
        <pc:spChg chg="del">
          <ac:chgData name="Camila Valbuena" userId="96dddc91-0310-4901-8518-e86c705ebbd6" providerId="ADAL" clId="{289F64AF-0AA4-47A6-8069-0B1D64FC8B4F}" dt="2024-07-08T23:06:00.370" v="4340" actId="478"/>
          <ac:spMkLst>
            <pc:docMk/>
            <pc:sldMk cId="2476773217" sldId="2147482721"/>
            <ac:spMk id="47" creationId="{E3C5426C-7EBF-3C7B-1C73-D54E9ADAB764}"/>
          </ac:spMkLst>
        </pc:spChg>
        <pc:spChg chg="del">
          <ac:chgData name="Camila Valbuena" userId="96dddc91-0310-4901-8518-e86c705ebbd6" providerId="ADAL" clId="{289F64AF-0AA4-47A6-8069-0B1D64FC8B4F}" dt="2024-07-08T23:06:00.370" v="4340" actId="478"/>
          <ac:spMkLst>
            <pc:docMk/>
            <pc:sldMk cId="2476773217" sldId="2147482721"/>
            <ac:spMk id="48" creationId="{EA01C91F-7789-44AE-B474-52EFB20B8313}"/>
          </ac:spMkLst>
        </pc:spChg>
        <pc:spChg chg="del">
          <ac:chgData name="Camila Valbuena" userId="96dddc91-0310-4901-8518-e86c705ebbd6" providerId="ADAL" clId="{289F64AF-0AA4-47A6-8069-0B1D64FC8B4F}" dt="2024-07-08T23:06:00.370" v="4340" actId="478"/>
          <ac:spMkLst>
            <pc:docMk/>
            <pc:sldMk cId="2476773217" sldId="2147482721"/>
            <ac:spMk id="49" creationId="{065D5267-2DB8-E5FC-6367-B7AD172A6E80}"/>
          </ac:spMkLst>
        </pc:spChg>
        <pc:spChg chg="del">
          <ac:chgData name="Camila Valbuena" userId="96dddc91-0310-4901-8518-e86c705ebbd6" providerId="ADAL" clId="{289F64AF-0AA4-47A6-8069-0B1D64FC8B4F}" dt="2024-07-08T23:06:00.370" v="4340" actId="478"/>
          <ac:spMkLst>
            <pc:docMk/>
            <pc:sldMk cId="2476773217" sldId="2147482721"/>
            <ac:spMk id="54" creationId="{3F547FB5-849B-4694-F0B3-B21A1796E4CD}"/>
          </ac:spMkLst>
        </pc:spChg>
        <pc:spChg chg="del">
          <ac:chgData name="Camila Valbuena" userId="96dddc91-0310-4901-8518-e86c705ebbd6" providerId="ADAL" clId="{289F64AF-0AA4-47A6-8069-0B1D64FC8B4F}" dt="2024-07-08T23:06:00.370" v="4340" actId="478"/>
          <ac:spMkLst>
            <pc:docMk/>
            <pc:sldMk cId="2476773217" sldId="2147482721"/>
            <ac:spMk id="55" creationId="{6C2EDDBF-592E-63F0-6EE5-DCCE741AE5E4}"/>
          </ac:spMkLst>
        </pc:spChg>
        <pc:spChg chg="del">
          <ac:chgData name="Camila Valbuena" userId="96dddc91-0310-4901-8518-e86c705ebbd6" providerId="ADAL" clId="{289F64AF-0AA4-47A6-8069-0B1D64FC8B4F}" dt="2024-07-08T23:06:00.370" v="4340" actId="478"/>
          <ac:spMkLst>
            <pc:docMk/>
            <pc:sldMk cId="2476773217" sldId="2147482721"/>
            <ac:spMk id="56" creationId="{50564E91-0FB6-4B97-6B90-35DAFBB253A2}"/>
          </ac:spMkLst>
        </pc:spChg>
        <pc:spChg chg="del">
          <ac:chgData name="Camila Valbuena" userId="96dddc91-0310-4901-8518-e86c705ebbd6" providerId="ADAL" clId="{289F64AF-0AA4-47A6-8069-0B1D64FC8B4F}" dt="2024-07-08T23:06:00.370" v="4340" actId="478"/>
          <ac:spMkLst>
            <pc:docMk/>
            <pc:sldMk cId="2476773217" sldId="2147482721"/>
            <ac:spMk id="57" creationId="{11597A19-67A0-9E12-E77A-14295187505E}"/>
          </ac:spMkLst>
        </pc:spChg>
        <pc:spChg chg="del">
          <ac:chgData name="Camila Valbuena" userId="96dddc91-0310-4901-8518-e86c705ebbd6" providerId="ADAL" clId="{289F64AF-0AA4-47A6-8069-0B1D64FC8B4F}" dt="2024-07-08T23:06:00.370" v="4340" actId="478"/>
          <ac:spMkLst>
            <pc:docMk/>
            <pc:sldMk cId="2476773217" sldId="2147482721"/>
            <ac:spMk id="58" creationId="{5DBA399E-45B8-9A2F-F806-841291727212}"/>
          </ac:spMkLst>
        </pc:spChg>
        <pc:spChg chg="del">
          <ac:chgData name="Camila Valbuena" userId="96dddc91-0310-4901-8518-e86c705ebbd6" providerId="ADAL" clId="{289F64AF-0AA4-47A6-8069-0B1D64FC8B4F}" dt="2024-07-08T23:06:00.370" v="4340" actId="478"/>
          <ac:spMkLst>
            <pc:docMk/>
            <pc:sldMk cId="2476773217" sldId="2147482721"/>
            <ac:spMk id="59" creationId="{CD8748E1-B375-9BCC-0A35-2231E205C3FA}"/>
          </ac:spMkLst>
        </pc:spChg>
        <pc:spChg chg="del">
          <ac:chgData name="Camila Valbuena" userId="96dddc91-0310-4901-8518-e86c705ebbd6" providerId="ADAL" clId="{289F64AF-0AA4-47A6-8069-0B1D64FC8B4F}" dt="2024-07-08T23:06:00.370" v="4340" actId="478"/>
          <ac:spMkLst>
            <pc:docMk/>
            <pc:sldMk cId="2476773217" sldId="2147482721"/>
            <ac:spMk id="62" creationId="{50531CB9-CB93-823E-B480-E5C8D279ED81}"/>
          </ac:spMkLst>
        </pc:spChg>
        <pc:spChg chg="del">
          <ac:chgData name="Camila Valbuena" userId="96dddc91-0310-4901-8518-e86c705ebbd6" providerId="ADAL" clId="{289F64AF-0AA4-47A6-8069-0B1D64FC8B4F}" dt="2024-07-08T23:06:00.370" v="4340" actId="478"/>
          <ac:spMkLst>
            <pc:docMk/>
            <pc:sldMk cId="2476773217" sldId="2147482721"/>
            <ac:spMk id="63" creationId="{A705D512-038A-539B-08A1-3E80FF2CE05C}"/>
          </ac:spMkLst>
        </pc:spChg>
        <pc:spChg chg="del">
          <ac:chgData name="Camila Valbuena" userId="96dddc91-0310-4901-8518-e86c705ebbd6" providerId="ADAL" clId="{289F64AF-0AA4-47A6-8069-0B1D64FC8B4F}" dt="2024-07-08T23:06:00.370" v="4340" actId="478"/>
          <ac:spMkLst>
            <pc:docMk/>
            <pc:sldMk cId="2476773217" sldId="2147482721"/>
            <ac:spMk id="2048" creationId="{789FF08E-C1A2-A682-D7D3-063F8167B820}"/>
          </ac:spMkLst>
        </pc:spChg>
        <pc:spChg chg="del">
          <ac:chgData name="Camila Valbuena" userId="96dddc91-0310-4901-8518-e86c705ebbd6" providerId="ADAL" clId="{289F64AF-0AA4-47A6-8069-0B1D64FC8B4F}" dt="2024-07-08T23:06:00.370" v="4340" actId="478"/>
          <ac:spMkLst>
            <pc:docMk/>
            <pc:sldMk cId="2476773217" sldId="2147482721"/>
            <ac:spMk id="2049" creationId="{7924562C-11B7-B779-8FE8-DB26C607A09D}"/>
          </ac:spMkLst>
        </pc:spChg>
        <pc:spChg chg="del">
          <ac:chgData name="Camila Valbuena" userId="96dddc91-0310-4901-8518-e86c705ebbd6" providerId="ADAL" clId="{289F64AF-0AA4-47A6-8069-0B1D64FC8B4F}" dt="2024-07-08T23:06:00.370" v="4340" actId="478"/>
          <ac:spMkLst>
            <pc:docMk/>
            <pc:sldMk cId="2476773217" sldId="2147482721"/>
            <ac:spMk id="2051" creationId="{7E84F4CC-55D8-0F2E-7E39-804C8086A676}"/>
          </ac:spMkLst>
        </pc:spChg>
        <pc:spChg chg="del">
          <ac:chgData name="Camila Valbuena" userId="96dddc91-0310-4901-8518-e86c705ebbd6" providerId="ADAL" clId="{289F64AF-0AA4-47A6-8069-0B1D64FC8B4F}" dt="2024-07-08T23:06:00.370" v="4340" actId="478"/>
          <ac:spMkLst>
            <pc:docMk/>
            <pc:sldMk cId="2476773217" sldId="2147482721"/>
            <ac:spMk id="2052" creationId="{1F87F3CC-F5A6-3B0B-41BA-9F25BB0478A1}"/>
          </ac:spMkLst>
        </pc:spChg>
        <pc:spChg chg="del">
          <ac:chgData name="Camila Valbuena" userId="96dddc91-0310-4901-8518-e86c705ebbd6" providerId="ADAL" clId="{289F64AF-0AA4-47A6-8069-0B1D64FC8B4F}" dt="2024-07-08T23:06:00.370" v="4340" actId="478"/>
          <ac:spMkLst>
            <pc:docMk/>
            <pc:sldMk cId="2476773217" sldId="2147482721"/>
            <ac:spMk id="2053" creationId="{3FAB8156-5B35-9EDE-3919-C49CFA9CAC37}"/>
          </ac:spMkLst>
        </pc:spChg>
        <pc:spChg chg="del">
          <ac:chgData name="Camila Valbuena" userId="96dddc91-0310-4901-8518-e86c705ebbd6" providerId="ADAL" clId="{289F64AF-0AA4-47A6-8069-0B1D64FC8B4F}" dt="2024-07-08T23:06:00.370" v="4340" actId="478"/>
          <ac:spMkLst>
            <pc:docMk/>
            <pc:sldMk cId="2476773217" sldId="2147482721"/>
            <ac:spMk id="2057" creationId="{130C7638-7999-F001-DAB8-4BA371316C89}"/>
          </ac:spMkLst>
        </pc:spChg>
        <pc:spChg chg="del">
          <ac:chgData name="Camila Valbuena" userId="96dddc91-0310-4901-8518-e86c705ebbd6" providerId="ADAL" clId="{289F64AF-0AA4-47A6-8069-0B1D64FC8B4F}" dt="2024-07-08T23:06:00.370" v="4340" actId="478"/>
          <ac:spMkLst>
            <pc:docMk/>
            <pc:sldMk cId="2476773217" sldId="2147482721"/>
            <ac:spMk id="2058" creationId="{FE341C77-7D1F-7B1D-657B-D6BC8503026E}"/>
          </ac:spMkLst>
        </pc:spChg>
        <pc:spChg chg="del">
          <ac:chgData name="Camila Valbuena" userId="96dddc91-0310-4901-8518-e86c705ebbd6" providerId="ADAL" clId="{289F64AF-0AA4-47A6-8069-0B1D64FC8B4F}" dt="2024-07-08T23:06:00.370" v="4340" actId="478"/>
          <ac:spMkLst>
            <pc:docMk/>
            <pc:sldMk cId="2476773217" sldId="2147482721"/>
            <ac:spMk id="2059" creationId="{323E8E00-E950-CDC4-3645-ADCA0F49C1F2}"/>
          </ac:spMkLst>
        </pc:spChg>
        <pc:spChg chg="del">
          <ac:chgData name="Camila Valbuena" userId="96dddc91-0310-4901-8518-e86c705ebbd6" providerId="ADAL" clId="{289F64AF-0AA4-47A6-8069-0B1D64FC8B4F}" dt="2024-07-08T23:06:00.370" v="4340" actId="478"/>
          <ac:spMkLst>
            <pc:docMk/>
            <pc:sldMk cId="2476773217" sldId="2147482721"/>
            <ac:spMk id="2060" creationId="{09703DC3-E055-966A-0DCE-013414CA696D}"/>
          </ac:spMkLst>
        </pc:spChg>
        <pc:spChg chg="del">
          <ac:chgData name="Camila Valbuena" userId="96dddc91-0310-4901-8518-e86c705ebbd6" providerId="ADAL" clId="{289F64AF-0AA4-47A6-8069-0B1D64FC8B4F}" dt="2024-07-08T23:06:00.370" v="4340" actId="478"/>
          <ac:spMkLst>
            <pc:docMk/>
            <pc:sldMk cId="2476773217" sldId="2147482721"/>
            <ac:spMk id="2061" creationId="{B84872C5-AC69-D4B7-7A2D-B87D31D0180B}"/>
          </ac:spMkLst>
        </pc:spChg>
        <pc:spChg chg="del">
          <ac:chgData name="Camila Valbuena" userId="96dddc91-0310-4901-8518-e86c705ebbd6" providerId="ADAL" clId="{289F64AF-0AA4-47A6-8069-0B1D64FC8B4F}" dt="2024-07-08T23:06:00.370" v="4340" actId="478"/>
          <ac:spMkLst>
            <pc:docMk/>
            <pc:sldMk cId="2476773217" sldId="2147482721"/>
            <ac:spMk id="2063" creationId="{F2318FCF-B075-4DD3-B60D-FDD7E77FD420}"/>
          </ac:spMkLst>
        </pc:spChg>
        <pc:spChg chg="del">
          <ac:chgData name="Camila Valbuena" userId="96dddc91-0310-4901-8518-e86c705ebbd6" providerId="ADAL" clId="{289F64AF-0AA4-47A6-8069-0B1D64FC8B4F}" dt="2024-07-08T23:06:00.370" v="4340" actId="478"/>
          <ac:spMkLst>
            <pc:docMk/>
            <pc:sldMk cId="2476773217" sldId="2147482721"/>
            <ac:spMk id="2064" creationId="{E3EE183C-814A-F9E8-7C19-203DB8A9F54E}"/>
          </ac:spMkLst>
        </pc:spChg>
        <pc:spChg chg="del">
          <ac:chgData name="Camila Valbuena" userId="96dddc91-0310-4901-8518-e86c705ebbd6" providerId="ADAL" clId="{289F64AF-0AA4-47A6-8069-0B1D64FC8B4F}" dt="2024-07-08T23:06:00.370" v="4340" actId="478"/>
          <ac:spMkLst>
            <pc:docMk/>
            <pc:sldMk cId="2476773217" sldId="2147482721"/>
            <ac:spMk id="2067" creationId="{94E5EF5B-2615-E3A9-F27B-030F506270A1}"/>
          </ac:spMkLst>
        </pc:spChg>
        <pc:spChg chg="del">
          <ac:chgData name="Camila Valbuena" userId="96dddc91-0310-4901-8518-e86c705ebbd6" providerId="ADAL" clId="{289F64AF-0AA4-47A6-8069-0B1D64FC8B4F}" dt="2024-07-08T23:06:00.370" v="4340" actId="478"/>
          <ac:spMkLst>
            <pc:docMk/>
            <pc:sldMk cId="2476773217" sldId="2147482721"/>
            <ac:spMk id="2068" creationId="{AD18C71D-3A56-DC5C-0BF8-1ED09467FC35}"/>
          </ac:spMkLst>
        </pc:spChg>
        <pc:spChg chg="del">
          <ac:chgData name="Camila Valbuena" userId="96dddc91-0310-4901-8518-e86c705ebbd6" providerId="ADAL" clId="{289F64AF-0AA4-47A6-8069-0B1D64FC8B4F}" dt="2024-07-08T23:06:00.370" v="4340" actId="478"/>
          <ac:spMkLst>
            <pc:docMk/>
            <pc:sldMk cId="2476773217" sldId="2147482721"/>
            <ac:spMk id="2069" creationId="{A463DABA-DA2D-47B1-8AFD-E1DBA5741992}"/>
          </ac:spMkLst>
        </pc:spChg>
        <pc:spChg chg="del">
          <ac:chgData name="Camila Valbuena" userId="96dddc91-0310-4901-8518-e86c705ebbd6" providerId="ADAL" clId="{289F64AF-0AA4-47A6-8069-0B1D64FC8B4F}" dt="2024-07-08T23:06:00.370" v="4340" actId="478"/>
          <ac:spMkLst>
            <pc:docMk/>
            <pc:sldMk cId="2476773217" sldId="2147482721"/>
            <ac:spMk id="2070" creationId="{4F4EC018-58E0-F3BC-7BC3-78D4295703E0}"/>
          </ac:spMkLst>
        </pc:spChg>
        <pc:spChg chg="del">
          <ac:chgData name="Camila Valbuena" userId="96dddc91-0310-4901-8518-e86c705ebbd6" providerId="ADAL" clId="{289F64AF-0AA4-47A6-8069-0B1D64FC8B4F}" dt="2024-07-08T23:06:00.370" v="4340" actId="478"/>
          <ac:spMkLst>
            <pc:docMk/>
            <pc:sldMk cId="2476773217" sldId="2147482721"/>
            <ac:spMk id="2073" creationId="{D5F942B6-F8B5-2C16-3413-E521C5EE4B98}"/>
          </ac:spMkLst>
        </pc:spChg>
        <pc:spChg chg="del">
          <ac:chgData name="Camila Valbuena" userId="96dddc91-0310-4901-8518-e86c705ebbd6" providerId="ADAL" clId="{289F64AF-0AA4-47A6-8069-0B1D64FC8B4F}" dt="2024-07-08T23:06:00.370" v="4340" actId="478"/>
          <ac:spMkLst>
            <pc:docMk/>
            <pc:sldMk cId="2476773217" sldId="2147482721"/>
            <ac:spMk id="2074" creationId="{0C10CADF-A68D-66C4-C31F-B183D346B976}"/>
          </ac:spMkLst>
        </pc:spChg>
        <pc:spChg chg="del">
          <ac:chgData name="Camila Valbuena" userId="96dddc91-0310-4901-8518-e86c705ebbd6" providerId="ADAL" clId="{289F64AF-0AA4-47A6-8069-0B1D64FC8B4F}" dt="2024-07-08T23:06:01.848" v="4341" actId="478"/>
          <ac:spMkLst>
            <pc:docMk/>
            <pc:sldMk cId="2476773217" sldId="2147482721"/>
            <ac:spMk id="2082" creationId="{90F68DFE-2FF8-1406-648D-C9A48A7590DD}"/>
          </ac:spMkLst>
        </pc:spChg>
        <pc:spChg chg="del">
          <ac:chgData name="Camila Valbuena" userId="96dddc91-0310-4901-8518-e86c705ebbd6" providerId="ADAL" clId="{289F64AF-0AA4-47A6-8069-0B1D64FC8B4F}" dt="2024-07-08T23:06:00.370" v="4340" actId="478"/>
          <ac:spMkLst>
            <pc:docMk/>
            <pc:sldMk cId="2476773217" sldId="2147482721"/>
            <ac:spMk id="2083" creationId="{AD9710C4-91FF-D010-52D0-5126C552BE08}"/>
          </ac:spMkLst>
        </pc:spChg>
        <pc:spChg chg="del">
          <ac:chgData name="Camila Valbuena" userId="96dddc91-0310-4901-8518-e86c705ebbd6" providerId="ADAL" clId="{289F64AF-0AA4-47A6-8069-0B1D64FC8B4F}" dt="2024-07-08T23:05:55.994" v="4339" actId="478"/>
          <ac:spMkLst>
            <pc:docMk/>
            <pc:sldMk cId="2476773217" sldId="2147482721"/>
            <ac:spMk id="2084" creationId="{360959CF-FDE8-F2E3-0025-90548FD8FD67}"/>
          </ac:spMkLst>
        </pc:spChg>
        <pc:grpChg chg="add mod">
          <ac:chgData name="Camila Valbuena" userId="96dddc91-0310-4901-8518-e86c705ebbd6" providerId="ADAL" clId="{289F64AF-0AA4-47A6-8069-0B1D64FC8B4F}" dt="2024-07-08T23:16:33.112" v="4753" actId="14100"/>
          <ac:grpSpMkLst>
            <pc:docMk/>
            <pc:sldMk cId="2476773217" sldId="2147482721"/>
            <ac:grpSpMk id="2" creationId="{2DA51385-FFC4-D5F5-5C39-AFFC619E7417}"/>
          </ac:grpSpMkLst>
        </pc:grpChg>
        <pc:graphicFrameChg chg="del">
          <ac:chgData name="Camila Valbuena" userId="96dddc91-0310-4901-8518-e86c705ebbd6" providerId="ADAL" clId="{289F64AF-0AA4-47A6-8069-0B1D64FC8B4F}" dt="2024-07-08T23:06:00.370" v="4340" actId="478"/>
          <ac:graphicFrameMkLst>
            <pc:docMk/>
            <pc:sldMk cId="2476773217" sldId="2147482721"/>
            <ac:graphicFrameMk id="35" creationId="{3690F72B-F960-7C91-383F-A94789F5B833}"/>
          </ac:graphicFrameMkLst>
        </pc:graphicFrameChg>
        <pc:picChg chg="del">
          <ac:chgData name="Camila Valbuena" userId="96dddc91-0310-4901-8518-e86c705ebbd6" providerId="ADAL" clId="{289F64AF-0AA4-47A6-8069-0B1D64FC8B4F}" dt="2024-07-08T23:06:00.370" v="4340" actId="478"/>
          <ac:picMkLst>
            <pc:docMk/>
            <pc:sldMk cId="2476773217" sldId="2147482721"/>
            <ac:picMk id="36" creationId="{5441BAC7-3C8B-418E-484F-4BD1A79CBADE}"/>
          </ac:picMkLst>
        </pc:picChg>
        <pc:picChg chg="del">
          <ac:chgData name="Camila Valbuena" userId="96dddc91-0310-4901-8518-e86c705ebbd6" providerId="ADAL" clId="{289F64AF-0AA4-47A6-8069-0B1D64FC8B4F}" dt="2024-07-08T23:06:00.370" v="4340" actId="478"/>
          <ac:picMkLst>
            <pc:docMk/>
            <pc:sldMk cId="2476773217" sldId="2147482721"/>
            <ac:picMk id="37" creationId="{31178A20-9410-5199-0E35-542A2B6D91C0}"/>
          </ac:picMkLst>
        </pc:picChg>
        <pc:picChg chg="del">
          <ac:chgData name="Camila Valbuena" userId="96dddc91-0310-4901-8518-e86c705ebbd6" providerId="ADAL" clId="{289F64AF-0AA4-47A6-8069-0B1D64FC8B4F}" dt="2024-07-08T23:06:00.370" v="4340" actId="478"/>
          <ac:picMkLst>
            <pc:docMk/>
            <pc:sldMk cId="2476773217" sldId="2147482721"/>
            <ac:picMk id="38" creationId="{9C91209A-70FD-DCDB-61DA-8B12B1A4D934}"/>
          </ac:picMkLst>
        </pc:picChg>
        <pc:picChg chg="del">
          <ac:chgData name="Camila Valbuena" userId="96dddc91-0310-4901-8518-e86c705ebbd6" providerId="ADAL" clId="{289F64AF-0AA4-47A6-8069-0B1D64FC8B4F}" dt="2024-07-08T23:06:00.370" v="4340" actId="478"/>
          <ac:picMkLst>
            <pc:docMk/>
            <pc:sldMk cId="2476773217" sldId="2147482721"/>
            <ac:picMk id="39" creationId="{A44005B3-7376-E484-B714-12C391497206}"/>
          </ac:picMkLst>
        </pc:picChg>
        <pc:picChg chg="del">
          <ac:chgData name="Camila Valbuena" userId="96dddc91-0310-4901-8518-e86c705ebbd6" providerId="ADAL" clId="{289F64AF-0AA4-47A6-8069-0B1D64FC8B4F}" dt="2024-07-08T23:06:00.370" v="4340" actId="478"/>
          <ac:picMkLst>
            <pc:docMk/>
            <pc:sldMk cId="2476773217" sldId="2147482721"/>
            <ac:picMk id="50" creationId="{6DD07838-47FC-6C6A-CD43-EA84A3A26D82}"/>
          </ac:picMkLst>
        </pc:picChg>
        <pc:picChg chg="del">
          <ac:chgData name="Camila Valbuena" userId="96dddc91-0310-4901-8518-e86c705ebbd6" providerId="ADAL" clId="{289F64AF-0AA4-47A6-8069-0B1D64FC8B4F}" dt="2024-07-08T23:06:00.370" v="4340" actId="478"/>
          <ac:picMkLst>
            <pc:docMk/>
            <pc:sldMk cId="2476773217" sldId="2147482721"/>
            <ac:picMk id="51" creationId="{EF149E56-2BEA-5DED-419D-D705D0B5900D}"/>
          </ac:picMkLst>
        </pc:picChg>
        <pc:picChg chg="del">
          <ac:chgData name="Camila Valbuena" userId="96dddc91-0310-4901-8518-e86c705ebbd6" providerId="ADAL" clId="{289F64AF-0AA4-47A6-8069-0B1D64FC8B4F}" dt="2024-07-08T23:06:00.370" v="4340" actId="478"/>
          <ac:picMkLst>
            <pc:docMk/>
            <pc:sldMk cId="2476773217" sldId="2147482721"/>
            <ac:picMk id="52" creationId="{9571B5C1-E53C-E5AE-B09A-9A09EE9F471E}"/>
          </ac:picMkLst>
        </pc:picChg>
        <pc:picChg chg="del">
          <ac:chgData name="Camila Valbuena" userId="96dddc91-0310-4901-8518-e86c705ebbd6" providerId="ADAL" clId="{289F64AF-0AA4-47A6-8069-0B1D64FC8B4F}" dt="2024-07-08T23:06:00.370" v="4340" actId="478"/>
          <ac:picMkLst>
            <pc:docMk/>
            <pc:sldMk cId="2476773217" sldId="2147482721"/>
            <ac:picMk id="53" creationId="{0AD911DC-56B6-E7F2-7428-1D234EF2D16F}"/>
          </ac:picMkLst>
        </pc:picChg>
        <pc:picChg chg="del">
          <ac:chgData name="Camila Valbuena" userId="96dddc91-0310-4901-8518-e86c705ebbd6" providerId="ADAL" clId="{289F64AF-0AA4-47A6-8069-0B1D64FC8B4F}" dt="2024-07-08T23:06:00.370" v="4340" actId="478"/>
          <ac:picMkLst>
            <pc:docMk/>
            <pc:sldMk cId="2476773217" sldId="2147482721"/>
            <ac:picMk id="60" creationId="{0579168B-5B47-F3C6-2A5E-03D01E512FA9}"/>
          </ac:picMkLst>
        </pc:picChg>
        <pc:picChg chg="del">
          <ac:chgData name="Camila Valbuena" userId="96dddc91-0310-4901-8518-e86c705ebbd6" providerId="ADAL" clId="{289F64AF-0AA4-47A6-8069-0B1D64FC8B4F}" dt="2024-07-08T23:06:00.370" v="4340" actId="478"/>
          <ac:picMkLst>
            <pc:docMk/>
            <pc:sldMk cId="2476773217" sldId="2147482721"/>
            <ac:picMk id="61" creationId="{42B9098A-80A3-52DB-2257-31529E3B60B7}"/>
          </ac:picMkLst>
        </pc:picChg>
        <pc:picChg chg="del">
          <ac:chgData name="Camila Valbuena" userId="96dddc91-0310-4901-8518-e86c705ebbd6" providerId="ADAL" clId="{289F64AF-0AA4-47A6-8069-0B1D64FC8B4F}" dt="2024-07-08T23:06:00.370" v="4340" actId="478"/>
          <ac:picMkLst>
            <pc:docMk/>
            <pc:sldMk cId="2476773217" sldId="2147482721"/>
            <ac:picMk id="2054" creationId="{84F8C711-D32A-C05A-ABBA-74E0852519DA}"/>
          </ac:picMkLst>
        </pc:picChg>
        <pc:picChg chg="del">
          <ac:chgData name="Camila Valbuena" userId="96dddc91-0310-4901-8518-e86c705ebbd6" providerId="ADAL" clId="{289F64AF-0AA4-47A6-8069-0B1D64FC8B4F}" dt="2024-07-08T23:06:00.370" v="4340" actId="478"/>
          <ac:picMkLst>
            <pc:docMk/>
            <pc:sldMk cId="2476773217" sldId="2147482721"/>
            <ac:picMk id="2055" creationId="{610F28B7-3EC2-6CFF-FA83-C80050D212C7}"/>
          </ac:picMkLst>
        </pc:picChg>
        <pc:picChg chg="del">
          <ac:chgData name="Camila Valbuena" userId="96dddc91-0310-4901-8518-e86c705ebbd6" providerId="ADAL" clId="{289F64AF-0AA4-47A6-8069-0B1D64FC8B4F}" dt="2024-07-08T23:06:00.370" v="4340" actId="478"/>
          <ac:picMkLst>
            <pc:docMk/>
            <pc:sldMk cId="2476773217" sldId="2147482721"/>
            <ac:picMk id="2056" creationId="{CCF961E0-AC45-4B07-1629-7D164BCE2B01}"/>
          </ac:picMkLst>
        </pc:picChg>
        <pc:picChg chg="del">
          <ac:chgData name="Camila Valbuena" userId="96dddc91-0310-4901-8518-e86c705ebbd6" providerId="ADAL" clId="{289F64AF-0AA4-47A6-8069-0B1D64FC8B4F}" dt="2024-07-08T23:06:00.370" v="4340" actId="478"/>
          <ac:picMkLst>
            <pc:docMk/>
            <pc:sldMk cId="2476773217" sldId="2147482721"/>
            <ac:picMk id="2062" creationId="{24839C3C-0A3A-B8F5-3E19-193DB04E3F0D}"/>
          </ac:picMkLst>
        </pc:picChg>
        <pc:picChg chg="del">
          <ac:chgData name="Camila Valbuena" userId="96dddc91-0310-4901-8518-e86c705ebbd6" providerId="ADAL" clId="{289F64AF-0AA4-47A6-8069-0B1D64FC8B4F}" dt="2024-07-08T23:06:00.370" v="4340" actId="478"/>
          <ac:picMkLst>
            <pc:docMk/>
            <pc:sldMk cId="2476773217" sldId="2147482721"/>
            <ac:picMk id="2065" creationId="{A59560D1-8220-6F4F-8851-F0E3B547869B}"/>
          </ac:picMkLst>
        </pc:picChg>
        <pc:picChg chg="del">
          <ac:chgData name="Camila Valbuena" userId="96dddc91-0310-4901-8518-e86c705ebbd6" providerId="ADAL" clId="{289F64AF-0AA4-47A6-8069-0B1D64FC8B4F}" dt="2024-07-08T23:06:00.370" v="4340" actId="478"/>
          <ac:picMkLst>
            <pc:docMk/>
            <pc:sldMk cId="2476773217" sldId="2147482721"/>
            <ac:picMk id="2066" creationId="{5F134272-49F8-0858-C569-98D6916C684E}"/>
          </ac:picMkLst>
        </pc:picChg>
        <pc:picChg chg="del">
          <ac:chgData name="Camila Valbuena" userId="96dddc91-0310-4901-8518-e86c705ebbd6" providerId="ADAL" clId="{289F64AF-0AA4-47A6-8069-0B1D64FC8B4F}" dt="2024-07-08T23:06:00.370" v="4340" actId="478"/>
          <ac:picMkLst>
            <pc:docMk/>
            <pc:sldMk cId="2476773217" sldId="2147482721"/>
            <ac:picMk id="2071" creationId="{4A4A22B5-1D60-78BA-9E77-B3E29578716A}"/>
          </ac:picMkLst>
        </pc:picChg>
        <pc:picChg chg="del">
          <ac:chgData name="Camila Valbuena" userId="96dddc91-0310-4901-8518-e86c705ebbd6" providerId="ADAL" clId="{289F64AF-0AA4-47A6-8069-0B1D64FC8B4F}" dt="2024-07-08T23:06:00.370" v="4340" actId="478"/>
          <ac:picMkLst>
            <pc:docMk/>
            <pc:sldMk cId="2476773217" sldId="2147482721"/>
            <ac:picMk id="2072" creationId="{FC4B638C-F457-A2FC-03FD-451BAE8A709B}"/>
          </ac:picMkLst>
        </pc:picChg>
        <pc:picChg chg="del">
          <ac:chgData name="Camila Valbuena" userId="96dddc91-0310-4901-8518-e86c705ebbd6" providerId="ADAL" clId="{289F64AF-0AA4-47A6-8069-0B1D64FC8B4F}" dt="2024-07-08T23:06:00.370" v="4340" actId="478"/>
          <ac:picMkLst>
            <pc:docMk/>
            <pc:sldMk cId="2476773217" sldId="2147482721"/>
            <ac:picMk id="2075" creationId="{AA4DF35C-B0E0-3916-C672-866A6A73F991}"/>
          </ac:picMkLst>
        </pc:picChg>
        <pc:picChg chg="del">
          <ac:chgData name="Camila Valbuena" userId="96dddc91-0310-4901-8518-e86c705ebbd6" providerId="ADAL" clId="{289F64AF-0AA4-47A6-8069-0B1D64FC8B4F}" dt="2024-07-08T23:06:00.370" v="4340" actId="478"/>
          <ac:picMkLst>
            <pc:docMk/>
            <pc:sldMk cId="2476773217" sldId="2147482721"/>
            <ac:picMk id="2076" creationId="{F12CED7C-8667-2A9A-532A-F7AE2F75D2AF}"/>
          </ac:picMkLst>
        </pc:picChg>
        <pc:picChg chg="del">
          <ac:chgData name="Camila Valbuena" userId="96dddc91-0310-4901-8518-e86c705ebbd6" providerId="ADAL" clId="{289F64AF-0AA4-47A6-8069-0B1D64FC8B4F}" dt="2024-07-08T23:06:00.370" v="4340" actId="478"/>
          <ac:picMkLst>
            <pc:docMk/>
            <pc:sldMk cId="2476773217" sldId="2147482721"/>
            <ac:picMk id="2077" creationId="{BA74C271-9F98-430C-2E2D-B9E78BEEC4EF}"/>
          </ac:picMkLst>
        </pc:picChg>
        <pc:picChg chg="del">
          <ac:chgData name="Camila Valbuena" userId="96dddc91-0310-4901-8518-e86c705ebbd6" providerId="ADAL" clId="{289F64AF-0AA4-47A6-8069-0B1D64FC8B4F}" dt="2024-07-08T23:06:00.370" v="4340" actId="478"/>
          <ac:picMkLst>
            <pc:docMk/>
            <pc:sldMk cId="2476773217" sldId="2147482721"/>
            <ac:picMk id="2078" creationId="{57B9640A-71E6-4691-5392-385A80BFAC64}"/>
          </ac:picMkLst>
        </pc:picChg>
        <pc:picChg chg="del">
          <ac:chgData name="Camila Valbuena" userId="96dddc91-0310-4901-8518-e86c705ebbd6" providerId="ADAL" clId="{289F64AF-0AA4-47A6-8069-0B1D64FC8B4F}" dt="2024-07-08T23:06:00.370" v="4340" actId="478"/>
          <ac:picMkLst>
            <pc:docMk/>
            <pc:sldMk cId="2476773217" sldId="2147482721"/>
            <ac:picMk id="2079" creationId="{4B3AAEF5-5516-ECF9-65AD-9C248796BF4F}"/>
          </ac:picMkLst>
        </pc:picChg>
        <pc:picChg chg="del">
          <ac:chgData name="Camila Valbuena" userId="96dddc91-0310-4901-8518-e86c705ebbd6" providerId="ADAL" clId="{289F64AF-0AA4-47A6-8069-0B1D64FC8B4F}" dt="2024-07-08T23:06:00.370" v="4340" actId="478"/>
          <ac:picMkLst>
            <pc:docMk/>
            <pc:sldMk cId="2476773217" sldId="2147482721"/>
            <ac:picMk id="2080" creationId="{189F7EA3-A3F5-4F1F-B9E1-0076B5978E9C}"/>
          </ac:picMkLst>
        </pc:picChg>
        <pc:picChg chg="del">
          <ac:chgData name="Camila Valbuena" userId="96dddc91-0310-4901-8518-e86c705ebbd6" providerId="ADAL" clId="{289F64AF-0AA4-47A6-8069-0B1D64FC8B4F}" dt="2024-07-08T23:06:00.370" v="4340" actId="478"/>
          <ac:picMkLst>
            <pc:docMk/>
            <pc:sldMk cId="2476773217" sldId="2147482721"/>
            <ac:picMk id="2081" creationId="{75AC9DFE-06F0-D89F-002A-92897407475D}"/>
          </ac:picMkLst>
        </pc:picChg>
      </pc:sldChg>
      <pc:sldChg chg="modSp add mod">
        <pc:chgData name="Camila Valbuena" userId="96dddc91-0310-4901-8518-e86c705ebbd6" providerId="ADAL" clId="{289F64AF-0AA4-47A6-8069-0B1D64FC8B4F}" dt="2024-07-08T23:18:07.225" v="4761" actId="108"/>
        <pc:sldMkLst>
          <pc:docMk/>
          <pc:sldMk cId="2273158179" sldId="2147482722"/>
        </pc:sldMkLst>
        <pc:spChg chg="mod">
          <ac:chgData name="Camila Valbuena" userId="96dddc91-0310-4901-8518-e86c705ebbd6" providerId="ADAL" clId="{289F64AF-0AA4-47A6-8069-0B1D64FC8B4F}" dt="2024-07-08T23:18:07.225" v="4761" actId="108"/>
          <ac:spMkLst>
            <pc:docMk/>
            <pc:sldMk cId="2273158179" sldId="2147482722"/>
            <ac:spMk id="3" creationId="{917EFD4C-E48B-9C02-591A-3C14F07B8CA5}"/>
          </ac:spMkLst>
        </pc:spChg>
        <pc:spChg chg="mod">
          <ac:chgData name="Camila Valbuena" userId="96dddc91-0310-4901-8518-e86c705ebbd6" providerId="ADAL" clId="{289F64AF-0AA4-47A6-8069-0B1D64FC8B4F}" dt="2024-07-08T23:18:04.797" v="4760" actId="108"/>
          <ac:spMkLst>
            <pc:docMk/>
            <pc:sldMk cId="2273158179" sldId="2147482722"/>
            <ac:spMk id="9" creationId="{F34FEE20-819B-7659-489B-C6CB8FA09970}"/>
          </ac:spMkLst>
        </pc:spChg>
      </pc:sldChg>
      <pc:sldChg chg="modSp add mod">
        <pc:chgData name="Camila Valbuena" userId="96dddc91-0310-4901-8518-e86c705ebbd6" providerId="ADAL" clId="{289F64AF-0AA4-47A6-8069-0B1D64FC8B4F}" dt="2024-07-08T23:19:21.580" v="4769" actId="108"/>
        <pc:sldMkLst>
          <pc:docMk/>
          <pc:sldMk cId="2149694302" sldId="2147482723"/>
        </pc:sldMkLst>
        <pc:spChg chg="mod">
          <ac:chgData name="Camila Valbuena" userId="96dddc91-0310-4901-8518-e86c705ebbd6" providerId="ADAL" clId="{289F64AF-0AA4-47A6-8069-0B1D64FC8B4F}" dt="2024-07-08T23:19:18.871" v="4768" actId="108"/>
          <ac:spMkLst>
            <pc:docMk/>
            <pc:sldMk cId="2149694302" sldId="2147482723"/>
            <ac:spMk id="2" creationId="{410BB48F-3A62-D028-E675-3261523B6CE7}"/>
          </ac:spMkLst>
        </pc:spChg>
        <pc:spChg chg="mod">
          <ac:chgData name="Camila Valbuena" userId="96dddc91-0310-4901-8518-e86c705ebbd6" providerId="ADAL" clId="{289F64AF-0AA4-47A6-8069-0B1D64FC8B4F}" dt="2024-07-08T23:19:21.580" v="4769" actId="108"/>
          <ac:spMkLst>
            <pc:docMk/>
            <pc:sldMk cId="2149694302" sldId="2147482723"/>
            <ac:spMk id="9" creationId="{F34FEE20-819B-7659-489B-C6CB8FA09970}"/>
          </ac:spMkLst>
        </pc:spChg>
      </pc:sldChg>
      <pc:sldChg chg="addSp delSp modSp add mod">
        <pc:chgData name="Camila Valbuena" userId="96dddc91-0310-4901-8518-e86c705ebbd6" providerId="ADAL" clId="{289F64AF-0AA4-47A6-8069-0B1D64FC8B4F}" dt="2024-07-08T23:31:02.440" v="4933" actId="20577"/>
        <pc:sldMkLst>
          <pc:docMk/>
          <pc:sldMk cId="4220868363" sldId="2147482724"/>
        </pc:sldMkLst>
        <pc:spChg chg="add mod">
          <ac:chgData name="Camila Valbuena" userId="96dddc91-0310-4901-8518-e86c705ebbd6" providerId="ADAL" clId="{289F64AF-0AA4-47A6-8069-0B1D64FC8B4F}" dt="2024-07-08T23:31:02.440" v="4933" actId="20577"/>
          <ac:spMkLst>
            <pc:docMk/>
            <pc:sldMk cId="4220868363" sldId="2147482724"/>
            <ac:spMk id="3" creationId="{78081703-5B2C-4C07-65E8-19B693AE4878}"/>
          </ac:spMkLst>
        </pc:spChg>
        <pc:spChg chg="del">
          <ac:chgData name="Camila Valbuena" userId="96dddc91-0310-4901-8518-e86c705ebbd6" providerId="ADAL" clId="{289F64AF-0AA4-47A6-8069-0B1D64FC8B4F}" dt="2024-07-08T23:28:31.587" v="4873" actId="478"/>
          <ac:spMkLst>
            <pc:docMk/>
            <pc:sldMk cId="4220868363" sldId="2147482724"/>
            <ac:spMk id="4" creationId="{F3B073DB-91FC-C8B3-5BD6-63F5C32D7A3B}"/>
          </ac:spMkLst>
        </pc:spChg>
        <pc:spChg chg="del">
          <ac:chgData name="Camila Valbuena" userId="96dddc91-0310-4901-8518-e86c705ebbd6" providerId="ADAL" clId="{289F64AF-0AA4-47A6-8069-0B1D64FC8B4F}" dt="2024-07-08T23:28:31.587" v="4873" actId="478"/>
          <ac:spMkLst>
            <pc:docMk/>
            <pc:sldMk cId="4220868363" sldId="2147482724"/>
            <ac:spMk id="5" creationId="{BF63626E-760F-FD21-4E0B-8682E959528C}"/>
          </ac:spMkLst>
        </pc:spChg>
        <pc:spChg chg="del">
          <ac:chgData name="Camila Valbuena" userId="96dddc91-0310-4901-8518-e86c705ebbd6" providerId="ADAL" clId="{289F64AF-0AA4-47A6-8069-0B1D64FC8B4F}" dt="2024-07-08T23:28:31.587" v="4873" actId="478"/>
          <ac:spMkLst>
            <pc:docMk/>
            <pc:sldMk cId="4220868363" sldId="2147482724"/>
            <ac:spMk id="7" creationId="{CA546E7C-0485-8FE9-1E98-9782CBE41128}"/>
          </ac:spMkLst>
        </pc:spChg>
        <pc:spChg chg="del">
          <ac:chgData name="Camila Valbuena" userId="96dddc91-0310-4901-8518-e86c705ebbd6" providerId="ADAL" clId="{289F64AF-0AA4-47A6-8069-0B1D64FC8B4F}" dt="2024-07-08T23:28:31.587" v="4873" actId="478"/>
          <ac:spMkLst>
            <pc:docMk/>
            <pc:sldMk cId="4220868363" sldId="2147482724"/>
            <ac:spMk id="8" creationId="{B2188E32-E410-9EA1-79B9-75969119A5E8}"/>
          </ac:spMkLst>
        </pc:spChg>
        <pc:spChg chg="del">
          <ac:chgData name="Camila Valbuena" userId="96dddc91-0310-4901-8518-e86c705ebbd6" providerId="ADAL" clId="{289F64AF-0AA4-47A6-8069-0B1D64FC8B4F}" dt="2024-07-08T23:28:31.587" v="4873" actId="478"/>
          <ac:spMkLst>
            <pc:docMk/>
            <pc:sldMk cId="4220868363" sldId="2147482724"/>
            <ac:spMk id="11" creationId="{AD879B6C-B070-8E86-F488-DFEB385EB0BE}"/>
          </ac:spMkLst>
        </pc:spChg>
        <pc:spChg chg="del">
          <ac:chgData name="Camila Valbuena" userId="96dddc91-0310-4901-8518-e86c705ebbd6" providerId="ADAL" clId="{289F64AF-0AA4-47A6-8069-0B1D64FC8B4F}" dt="2024-07-08T23:28:31.587" v="4873" actId="478"/>
          <ac:spMkLst>
            <pc:docMk/>
            <pc:sldMk cId="4220868363" sldId="2147482724"/>
            <ac:spMk id="12" creationId="{F0AE4DC1-3BF2-6979-2952-E021BB352DA3}"/>
          </ac:spMkLst>
        </pc:spChg>
        <pc:spChg chg="add mod">
          <ac:chgData name="Camila Valbuena" userId="96dddc91-0310-4901-8518-e86c705ebbd6" providerId="ADAL" clId="{289F64AF-0AA4-47A6-8069-0B1D64FC8B4F}" dt="2024-07-08T23:28:43.853" v="4879" actId="1076"/>
          <ac:spMkLst>
            <pc:docMk/>
            <pc:sldMk cId="4220868363" sldId="2147482724"/>
            <ac:spMk id="15" creationId="{ED8964C2-0094-75A6-CEC6-E55BBDDF8B34}"/>
          </ac:spMkLst>
        </pc:spChg>
        <pc:spChg chg="del">
          <ac:chgData name="Camila Valbuena" userId="96dddc91-0310-4901-8518-e86c705ebbd6" providerId="ADAL" clId="{289F64AF-0AA4-47A6-8069-0B1D64FC8B4F}" dt="2024-07-08T23:28:31.587" v="4873" actId="478"/>
          <ac:spMkLst>
            <pc:docMk/>
            <pc:sldMk cId="4220868363" sldId="2147482724"/>
            <ac:spMk id="16" creationId="{F7F0E1E4-1582-349D-A6CE-8BBA7939169E}"/>
          </ac:spMkLst>
        </pc:spChg>
        <pc:spChg chg="del">
          <ac:chgData name="Camila Valbuena" userId="96dddc91-0310-4901-8518-e86c705ebbd6" providerId="ADAL" clId="{289F64AF-0AA4-47A6-8069-0B1D64FC8B4F}" dt="2024-07-08T23:28:31.587" v="4873" actId="478"/>
          <ac:spMkLst>
            <pc:docMk/>
            <pc:sldMk cId="4220868363" sldId="2147482724"/>
            <ac:spMk id="17" creationId="{F908A79F-06BF-BEA3-13F2-5C9F00F97F11}"/>
          </ac:spMkLst>
        </pc:spChg>
        <pc:spChg chg="del">
          <ac:chgData name="Camila Valbuena" userId="96dddc91-0310-4901-8518-e86c705ebbd6" providerId="ADAL" clId="{289F64AF-0AA4-47A6-8069-0B1D64FC8B4F}" dt="2024-07-08T23:28:31.587" v="4873" actId="478"/>
          <ac:spMkLst>
            <pc:docMk/>
            <pc:sldMk cId="4220868363" sldId="2147482724"/>
            <ac:spMk id="18" creationId="{99EF0C18-9E5C-2C4B-B340-9447A5DA7AB1}"/>
          </ac:spMkLst>
        </pc:spChg>
        <pc:spChg chg="add mod">
          <ac:chgData name="Camila Valbuena" userId="96dddc91-0310-4901-8518-e86c705ebbd6" providerId="ADAL" clId="{289F64AF-0AA4-47A6-8069-0B1D64FC8B4F}" dt="2024-07-08T23:29:21.054" v="4887" actId="1076"/>
          <ac:spMkLst>
            <pc:docMk/>
            <pc:sldMk cId="4220868363" sldId="2147482724"/>
            <ac:spMk id="19" creationId="{C513686B-45C4-0222-FBC8-74715668B7FE}"/>
          </ac:spMkLst>
        </pc:spChg>
        <pc:spChg chg="add mod">
          <ac:chgData name="Camila Valbuena" userId="96dddc91-0310-4901-8518-e86c705ebbd6" providerId="ADAL" clId="{289F64AF-0AA4-47A6-8069-0B1D64FC8B4F}" dt="2024-07-08T23:30:50.040" v="4916" actId="1076"/>
          <ac:spMkLst>
            <pc:docMk/>
            <pc:sldMk cId="4220868363" sldId="2147482724"/>
            <ac:spMk id="20" creationId="{145C025C-1117-3D3B-DA6B-AB9D7F554420}"/>
          </ac:spMkLst>
        </pc:spChg>
        <pc:spChg chg="del">
          <ac:chgData name="Camila Valbuena" userId="96dddc91-0310-4901-8518-e86c705ebbd6" providerId="ADAL" clId="{289F64AF-0AA4-47A6-8069-0B1D64FC8B4F}" dt="2024-07-08T23:28:31.587" v="4873" actId="478"/>
          <ac:spMkLst>
            <pc:docMk/>
            <pc:sldMk cId="4220868363" sldId="2147482724"/>
            <ac:spMk id="21" creationId="{A7CAE01B-E12F-6B46-F90B-173B54A416D9}"/>
          </ac:spMkLst>
        </pc:spChg>
        <pc:spChg chg="del">
          <ac:chgData name="Camila Valbuena" userId="96dddc91-0310-4901-8518-e86c705ebbd6" providerId="ADAL" clId="{289F64AF-0AA4-47A6-8069-0B1D64FC8B4F}" dt="2024-07-08T23:28:35.689" v="4875" actId="478"/>
          <ac:spMkLst>
            <pc:docMk/>
            <pc:sldMk cId="4220868363" sldId="2147482724"/>
            <ac:spMk id="22" creationId="{9ABFCE18-7194-8DA9-E0E5-0A1E71D73771}"/>
          </ac:spMkLst>
        </pc:spChg>
        <pc:spChg chg="del">
          <ac:chgData name="Camila Valbuena" userId="96dddc91-0310-4901-8518-e86c705ebbd6" providerId="ADAL" clId="{289F64AF-0AA4-47A6-8069-0B1D64FC8B4F}" dt="2024-07-08T23:28:34.891" v="4874" actId="478"/>
          <ac:spMkLst>
            <pc:docMk/>
            <pc:sldMk cId="4220868363" sldId="2147482724"/>
            <ac:spMk id="23" creationId="{E3D36364-5F75-42F9-4A4B-B0235C0FF109}"/>
          </ac:spMkLst>
        </pc:spChg>
        <pc:spChg chg="del">
          <ac:chgData name="Camila Valbuena" userId="96dddc91-0310-4901-8518-e86c705ebbd6" providerId="ADAL" clId="{289F64AF-0AA4-47A6-8069-0B1D64FC8B4F}" dt="2024-07-08T23:28:31.587" v="4873" actId="478"/>
          <ac:spMkLst>
            <pc:docMk/>
            <pc:sldMk cId="4220868363" sldId="2147482724"/>
            <ac:spMk id="25" creationId="{69864C17-768B-116B-FE64-FE8E8EB1D150}"/>
          </ac:spMkLst>
        </pc:spChg>
        <pc:spChg chg="del">
          <ac:chgData name="Camila Valbuena" userId="96dddc91-0310-4901-8518-e86c705ebbd6" providerId="ADAL" clId="{289F64AF-0AA4-47A6-8069-0B1D64FC8B4F}" dt="2024-07-08T23:28:31.587" v="4873" actId="478"/>
          <ac:spMkLst>
            <pc:docMk/>
            <pc:sldMk cId="4220868363" sldId="2147482724"/>
            <ac:spMk id="29" creationId="{E875CE8F-F167-49EF-C84A-6C042D61127F}"/>
          </ac:spMkLst>
        </pc:spChg>
        <pc:spChg chg="del">
          <ac:chgData name="Camila Valbuena" userId="96dddc91-0310-4901-8518-e86c705ebbd6" providerId="ADAL" clId="{289F64AF-0AA4-47A6-8069-0B1D64FC8B4F}" dt="2024-07-08T23:28:31.587" v="4873" actId="478"/>
          <ac:spMkLst>
            <pc:docMk/>
            <pc:sldMk cId="4220868363" sldId="2147482724"/>
            <ac:spMk id="30" creationId="{3D8FBE08-29A9-3B6C-AA86-93200B2ED18E}"/>
          </ac:spMkLst>
        </pc:spChg>
        <pc:spChg chg="del">
          <ac:chgData name="Camila Valbuena" userId="96dddc91-0310-4901-8518-e86c705ebbd6" providerId="ADAL" clId="{289F64AF-0AA4-47A6-8069-0B1D64FC8B4F}" dt="2024-07-08T23:28:31.587" v="4873" actId="478"/>
          <ac:spMkLst>
            <pc:docMk/>
            <pc:sldMk cId="4220868363" sldId="2147482724"/>
            <ac:spMk id="32" creationId="{0C201B35-BE25-74E4-9F5D-693AA05744F7}"/>
          </ac:spMkLst>
        </pc:spChg>
        <pc:spChg chg="del">
          <ac:chgData name="Camila Valbuena" userId="96dddc91-0310-4901-8518-e86c705ebbd6" providerId="ADAL" clId="{289F64AF-0AA4-47A6-8069-0B1D64FC8B4F}" dt="2024-07-08T23:28:31.587" v="4873" actId="478"/>
          <ac:spMkLst>
            <pc:docMk/>
            <pc:sldMk cId="4220868363" sldId="2147482724"/>
            <ac:spMk id="33" creationId="{EA7D0FA2-F3C9-C6F7-A1F5-E798950A5358}"/>
          </ac:spMkLst>
        </pc:spChg>
        <pc:spChg chg="del">
          <ac:chgData name="Camila Valbuena" userId="96dddc91-0310-4901-8518-e86c705ebbd6" providerId="ADAL" clId="{289F64AF-0AA4-47A6-8069-0B1D64FC8B4F}" dt="2024-07-08T23:28:31.587" v="4873" actId="478"/>
          <ac:spMkLst>
            <pc:docMk/>
            <pc:sldMk cId="4220868363" sldId="2147482724"/>
            <ac:spMk id="34" creationId="{A7FC88CD-1F7E-ACAC-C3A0-9A824C13DFAD}"/>
          </ac:spMkLst>
        </pc:spChg>
        <pc:spChg chg="del">
          <ac:chgData name="Camila Valbuena" userId="96dddc91-0310-4901-8518-e86c705ebbd6" providerId="ADAL" clId="{289F64AF-0AA4-47A6-8069-0B1D64FC8B4F}" dt="2024-07-08T23:28:31.587" v="4873" actId="478"/>
          <ac:spMkLst>
            <pc:docMk/>
            <pc:sldMk cId="4220868363" sldId="2147482724"/>
            <ac:spMk id="35" creationId="{66061F05-43AC-459D-B35D-6529A51078D3}"/>
          </ac:spMkLst>
        </pc:spChg>
        <pc:spChg chg="del">
          <ac:chgData name="Camila Valbuena" userId="96dddc91-0310-4901-8518-e86c705ebbd6" providerId="ADAL" clId="{289F64AF-0AA4-47A6-8069-0B1D64FC8B4F}" dt="2024-07-08T23:28:31.587" v="4873" actId="478"/>
          <ac:spMkLst>
            <pc:docMk/>
            <pc:sldMk cId="4220868363" sldId="2147482724"/>
            <ac:spMk id="37" creationId="{B2C6E35B-0EB4-DD9A-E5C1-E4D9874154C4}"/>
          </ac:spMkLst>
        </pc:spChg>
        <pc:spChg chg="del">
          <ac:chgData name="Camila Valbuena" userId="96dddc91-0310-4901-8518-e86c705ebbd6" providerId="ADAL" clId="{289F64AF-0AA4-47A6-8069-0B1D64FC8B4F}" dt="2024-07-08T23:28:31.587" v="4873" actId="478"/>
          <ac:spMkLst>
            <pc:docMk/>
            <pc:sldMk cId="4220868363" sldId="2147482724"/>
            <ac:spMk id="38" creationId="{7537C1F2-EE06-FC1D-F1FA-F38082EA05AD}"/>
          </ac:spMkLst>
        </pc:spChg>
        <pc:picChg chg="del">
          <ac:chgData name="Camila Valbuena" userId="96dddc91-0310-4901-8518-e86c705ebbd6" providerId="ADAL" clId="{289F64AF-0AA4-47A6-8069-0B1D64FC8B4F}" dt="2024-07-08T23:28:31.587" v="4873" actId="478"/>
          <ac:picMkLst>
            <pc:docMk/>
            <pc:sldMk cId="4220868363" sldId="2147482724"/>
            <ac:picMk id="2" creationId="{57E6A3A4-C8D9-C2A0-E052-9D01D701AAA3}"/>
          </ac:picMkLst>
        </pc:picChg>
        <pc:picChg chg="del">
          <ac:chgData name="Camila Valbuena" userId="96dddc91-0310-4901-8518-e86c705ebbd6" providerId="ADAL" clId="{289F64AF-0AA4-47A6-8069-0B1D64FC8B4F}" dt="2024-07-08T23:28:31.587" v="4873" actId="478"/>
          <ac:picMkLst>
            <pc:docMk/>
            <pc:sldMk cId="4220868363" sldId="2147482724"/>
            <ac:picMk id="6" creationId="{1AE57B5B-E9D5-E5EC-2F8C-E22079CDBAF4}"/>
          </ac:picMkLst>
        </pc:picChg>
        <pc:picChg chg="del">
          <ac:chgData name="Camila Valbuena" userId="96dddc91-0310-4901-8518-e86c705ebbd6" providerId="ADAL" clId="{289F64AF-0AA4-47A6-8069-0B1D64FC8B4F}" dt="2024-07-08T23:28:31.587" v="4873" actId="478"/>
          <ac:picMkLst>
            <pc:docMk/>
            <pc:sldMk cId="4220868363" sldId="2147482724"/>
            <ac:picMk id="9" creationId="{12FD59AB-DF6F-B8CC-043A-A14BB6B46389}"/>
          </ac:picMkLst>
        </pc:picChg>
        <pc:picChg chg="del">
          <ac:chgData name="Camila Valbuena" userId="96dddc91-0310-4901-8518-e86c705ebbd6" providerId="ADAL" clId="{289F64AF-0AA4-47A6-8069-0B1D64FC8B4F}" dt="2024-07-08T23:28:31.587" v="4873" actId="478"/>
          <ac:picMkLst>
            <pc:docMk/>
            <pc:sldMk cId="4220868363" sldId="2147482724"/>
            <ac:picMk id="10" creationId="{ED2AB20D-8873-AF5C-249F-E0C791D897DC}"/>
          </ac:picMkLst>
        </pc:picChg>
        <pc:picChg chg="del">
          <ac:chgData name="Camila Valbuena" userId="96dddc91-0310-4901-8518-e86c705ebbd6" providerId="ADAL" clId="{289F64AF-0AA4-47A6-8069-0B1D64FC8B4F}" dt="2024-07-08T23:28:31.587" v="4873" actId="478"/>
          <ac:picMkLst>
            <pc:docMk/>
            <pc:sldMk cId="4220868363" sldId="2147482724"/>
            <ac:picMk id="14" creationId="{3F2B4988-056B-FE42-AEAC-A66D153DE9F6}"/>
          </ac:picMkLst>
        </pc:picChg>
        <pc:picChg chg="del">
          <ac:chgData name="Camila Valbuena" userId="96dddc91-0310-4901-8518-e86c705ebbd6" providerId="ADAL" clId="{289F64AF-0AA4-47A6-8069-0B1D64FC8B4F}" dt="2024-07-08T23:28:31.587" v="4873" actId="478"/>
          <ac:picMkLst>
            <pc:docMk/>
            <pc:sldMk cId="4220868363" sldId="2147482724"/>
            <ac:picMk id="24" creationId="{E9A45FF4-E555-2970-710F-3F77D79056A1}"/>
          </ac:picMkLst>
        </pc:picChg>
        <pc:picChg chg="del">
          <ac:chgData name="Camila Valbuena" userId="96dddc91-0310-4901-8518-e86c705ebbd6" providerId="ADAL" clId="{289F64AF-0AA4-47A6-8069-0B1D64FC8B4F}" dt="2024-07-08T23:28:31.587" v="4873" actId="478"/>
          <ac:picMkLst>
            <pc:docMk/>
            <pc:sldMk cId="4220868363" sldId="2147482724"/>
            <ac:picMk id="31" creationId="{FA6F8518-F996-036B-D62C-263BA678F0FF}"/>
          </ac:picMkLst>
        </pc:picChg>
        <pc:picChg chg="del">
          <ac:chgData name="Camila Valbuena" userId="96dddc91-0310-4901-8518-e86c705ebbd6" providerId="ADAL" clId="{289F64AF-0AA4-47A6-8069-0B1D64FC8B4F}" dt="2024-07-08T23:28:31.587" v="4873" actId="478"/>
          <ac:picMkLst>
            <pc:docMk/>
            <pc:sldMk cId="4220868363" sldId="2147482724"/>
            <ac:picMk id="42" creationId="{8A32DD14-61F9-88E4-2142-66EAEB8BAEC6}"/>
          </ac:picMkLst>
        </pc:picChg>
        <pc:picChg chg="del">
          <ac:chgData name="Camila Valbuena" userId="96dddc91-0310-4901-8518-e86c705ebbd6" providerId="ADAL" clId="{289F64AF-0AA4-47A6-8069-0B1D64FC8B4F}" dt="2024-07-08T23:28:31.587" v="4873" actId="478"/>
          <ac:picMkLst>
            <pc:docMk/>
            <pc:sldMk cId="4220868363" sldId="2147482724"/>
            <ac:picMk id="44" creationId="{17974EB7-087B-5DA9-5C6B-0782A68B6901}"/>
          </ac:picMkLst>
        </pc:picChg>
        <pc:picChg chg="del">
          <ac:chgData name="Camila Valbuena" userId="96dddc91-0310-4901-8518-e86c705ebbd6" providerId="ADAL" clId="{289F64AF-0AA4-47A6-8069-0B1D64FC8B4F}" dt="2024-07-08T23:28:31.587" v="4873" actId="478"/>
          <ac:picMkLst>
            <pc:docMk/>
            <pc:sldMk cId="4220868363" sldId="2147482724"/>
            <ac:picMk id="5122" creationId="{2B4E100E-D3A9-286D-41F4-9233F7840424}"/>
          </ac:picMkLst>
        </pc:picChg>
        <pc:picChg chg="add mod">
          <ac:chgData name="Camila Valbuena" userId="96dddc91-0310-4901-8518-e86c705ebbd6" providerId="ADAL" clId="{289F64AF-0AA4-47A6-8069-0B1D64FC8B4F}" dt="2024-07-08T23:29:57.451" v="4903" actId="1076"/>
          <ac:picMkLst>
            <pc:docMk/>
            <pc:sldMk cId="4220868363" sldId="2147482724"/>
            <ac:picMk id="8194" creationId="{2D6C9DDF-B59C-9C8D-1CB9-7CED538A3529}"/>
          </ac:picMkLst>
        </pc:picChg>
        <pc:cxnChg chg="del">
          <ac:chgData name="Camila Valbuena" userId="96dddc91-0310-4901-8518-e86c705ebbd6" providerId="ADAL" clId="{289F64AF-0AA4-47A6-8069-0B1D64FC8B4F}" dt="2024-07-08T23:28:37.208" v="4876" actId="478"/>
          <ac:cxnSpMkLst>
            <pc:docMk/>
            <pc:sldMk cId="4220868363" sldId="2147482724"/>
            <ac:cxnSpMk id="26" creationId="{364F68A7-05B8-C2E3-925A-BE883C3F10F4}"/>
          </ac:cxnSpMkLst>
        </pc:cxnChg>
        <pc:cxnChg chg="del">
          <ac:chgData name="Camila Valbuena" userId="96dddc91-0310-4901-8518-e86c705ebbd6" providerId="ADAL" clId="{289F64AF-0AA4-47A6-8069-0B1D64FC8B4F}" dt="2024-07-08T23:28:37.942" v="4877" actId="478"/>
          <ac:cxnSpMkLst>
            <pc:docMk/>
            <pc:sldMk cId="4220868363" sldId="2147482724"/>
            <ac:cxnSpMk id="27" creationId="{4A313BD5-C2F3-B4FB-8A9A-2E31761BAFCD}"/>
          </ac:cxnSpMkLst>
        </pc:cxnChg>
        <pc:cxnChg chg="del">
          <ac:chgData name="Camila Valbuena" userId="96dddc91-0310-4901-8518-e86c705ebbd6" providerId="ADAL" clId="{289F64AF-0AA4-47A6-8069-0B1D64FC8B4F}" dt="2024-07-08T23:28:31.587" v="4873" actId="478"/>
          <ac:cxnSpMkLst>
            <pc:docMk/>
            <pc:sldMk cId="4220868363" sldId="2147482724"/>
            <ac:cxnSpMk id="40" creationId="{719123BE-56D8-CD35-1ACD-CA2B4879D369}"/>
          </ac:cxnSpMkLst>
        </pc:cxnChg>
      </pc:sldChg>
      <pc:sldChg chg="modSp add mod">
        <pc:chgData name="Camila Valbuena" userId="96dddc91-0310-4901-8518-e86c705ebbd6" providerId="ADAL" clId="{289F64AF-0AA4-47A6-8069-0B1D64FC8B4F}" dt="2024-07-08T23:31:14.928" v="4936" actId="108"/>
        <pc:sldMkLst>
          <pc:docMk/>
          <pc:sldMk cId="1205354326" sldId="2147482725"/>
        </pc:sldMkLst>
        <pc:spChg chg="mod">
          <ac:chgData name="Camila Valbuena" userId="96dddc91-0310-4901-8518-e86c705ebbd6" providerId="ADAL" clId="{289F64AF-0AA4-47A6-8069-0B1D64FC8B4F}" dt="2024-07-08T23:31:14.928" v="4936" actId="108"/>
          <ac:spMkLst>
            <pc:docMk/>
            <pc:sldMk cId="1205354326" sldId="2147482725"/>
            <ac:spMk id="2" creationId="{410BB48F-3A62-D028-E675-3261523B6CE7}"/>
          </ac:spMkLst>
        </pc:spChg>
        <pc:spChg chg="mod">
          <ac:chgData name="Camila Valbuena" userId="96dddc91-0310-4901-8518-e86c705ebbd6" providerId="ADAL" clId="{289F64AF-0AA4-47A6-8069-0B1D64FC8B4F}" dt="2024-07-08T23:31:11.887" v="4935" actId="108"/>
          <ac:spMkLst>
            <pc:docMk/>
            <pc:sldMk cId="1205354326" sldId="2147482725"/>
            <ac:spMk id="7" creationId="{1CC0F131-0D3E-34F6-B5C4-68CC52DDD248}"/>
          </ac:spMkLst>
        </pc:spChg>
      </pc:sldChg>
      <pc:sldChg chg="addSp delSp modSp add mod">
        <pc:chgData name="Camila Valbuena" userId="96dddc91-0310-4901-8518-e86c705ebbd6" providerId="ADAL" clId="{289F64AF-0AA4-47A6-8069-0B1D64FC8B4F}" dt="2024-07-08T23:53:13.453" v="5247" actId="122"/>
        <pc:sldMkLst>
          <pc:docMk/>
          <pc:sldMk cId="1715933373" sldId="2147482726"/>
        </pc:sldMkLst>
        <pc:spChg chg="mod">
          <ac:chgData name="Camila Valbuena" userId="96dddc91-0310-4901-8518-e86c705ebbd6" providerId="ADAL" clId="{289F64AF-0AA4-47A6-8069-0B1D64FC8B4F}" dt="2024-07-08T23:32:38.853" v="4950" actId="20577"/>
          <ac:spMkLst>
            <pc:docMk/>
            <pc:sldMk cId="1715933373" sldId="2147482726"/>
            <ac:spMk id="3" creationId="{78081703-5B2C-4C07-65E8-19B693AE4878}"/>
          </ac:spMkLst>
        </pc:spChg>
        <pc:spChg chg="add mod">
          <ac:chgData name="Camila Valbuena" userId="96dddc91-0310-4901-8518-e86c705ebbd6" providerId="ADAL" clId="{289F64AF-0AA4-47A6-8069-0B1D64FC8B4F}" dt="2024-07-08T23:32:33.232" v="4940"/>
          <ac:spMkLst>
            <pc:docMk/>
            <pc:sldMk cId="1715933373" sldId="2147482726"/>
            <ac:spMk id="4" creationId="{ECAE8474-EAA0-CC7E-3C07-9628E4848572}"/>
          </ac:spMkLst>
        </pc:spChg>
        <pc:spChg chg="add mod">
          <ac:chgData name="Camila Valbuena" userId="96dddc91-0310-4901-8518-e86c705ebbd6" providerId="ADAL" clId="{289F64AF-0AA4-47A6-8069-0B1D64FC8B4F}" dt="2024-07-08T23:38:16.371" v="5040"/>
          <ac:spMkLst>
            <pc:docMk/>
            <pc:sldMk cId="1715933373" sldId="2147482726"/>
            <ac:spMk id="5" creationId="{61082C5F-1838-C86C-6948-4374682D3118}"/>
          </ac:spMkLst>
        </pc:spChg>
        <pc:spChg chg="add mod">
          <ac:chgData name="Camila Valbuena" userId="96dddc91-0310-4901-8518-e86c705ebbd6" providerId="ADAL" clId="{289F64AF-0AA4-47A6-8069-0B1D64FC8B4F}" dt="2024-07-08T23:38:16.371" v="5040"/>
          <ac:spMkLst>
            <pc:docMk/>
            <pc:sldMk cId="1715933373" sldId="2147482726"/>
            <ac:spMk id="6" creationId="{B32094B8-78D5-769D-FB4E-1F66DEA640B6}"/>
          </ac:spMkLst>
        </pc:spChg>
        <pc:spChg chg="add mod">
          <ac:chgData name="Camila Valbuena" userId="96dddc91-0310-4901-8518-e86c705ebbd6" providerId="ADAL" clId="{289F64AF-0AA4-47A6-8069-0B1D64FC8B4F}" dt="2024-07-08T23:38:16.371" v="5040"/>
          <ac:spMkLst>
            <pc:docMk/>
            <pc:sldMk cId="1715933373" sldId="2147482726"/>
            <ac:spMk id="7" creationId="{3FF03454-0081-7F73-1D53-3E6164E74DC7}"/>
          </ac:spMkLst>
        </pc:spChg>
        <pc:spChg chg="add mod">
          <ac:chgData name="Camila Valbuena" userId="96dddc91-0310-4901-8518-e86c705ebbd6" providerId="ADAL" clId="{289F64AF-0AA4-47A6-8069-0B1D64FC8B4F}" dt="2024-07-08T23:38:16.371" v="5040"/>
          <ac:spMkLst>
            <pc:docMk/>
            <pc:sldMk cId="1715933373" sldId="2147482726"/>
            <ac:spMk id="8" creationId="{284A5CBC-FB3B-FC7D-C249-457FAF54A777}"/>
          </ac:spMkLst>
        </pc:spChg>
        <pc:spChg chg="add mod">
          <ac:chgData name="Camila Valbuena" userId="96dddc91-0310-4901-8518-e86c705ebbd6" providerId="ADAL" clId="{289F64AF-0AA4-47A6-8069-0B1D64FC8B4F}" dt="2024-07-08T23:38:16.371" v="5040"/>
          <ac:spMkLst>
            <pc:docMk/>
            <pc:sldMk cId="1715933373" sldId="2147482726"/>
            <ac:spMk id="9" creationId="{0A5D2FD3-F26A-3355-BA48-6FE881E0BC50}"/>
          </ac:spMkLst>
        </pc:spChg>
        <pc:spChg chg="add mod">
          <ac:chgData name="Camila Valbuena" userId="96dddc91-0310-4901-8518-e86c705ebbd6" providerId="ADAL" clId="{289F64AF-0AA4-47A6-8069-0B1D64FC8B4F}" dt="2024-07-08T23:38:16.371" v="5040"/>
          <ac:spMkLst>
            <pc:docMk/>
            <pc:sldMk cId="1715933373" sldId="2147482726"/>
            <ac:spMk id="10" creationId="{6C481BB2-7232-8BCF-4EE0-17BA139BC0EA}"/>
          </ac:spMkLst>
        </pc:spChg>
        <pc:spChg chg="add mod">
          <ac:chgData name="Camila Valbuena" userId="96dddc91-0310-4901-8518-e86c705ebbd6" providerId="ADAL" clId="{289F64AF-0AA4-47A6-8069-0B1D64FC8B4F}" dt="2024-07-08T23:38:16.371" v="5040"/>
          <ac:spMkLst>
            <pc:docMk/>
            <pc:sldMk cId="1715933373" sldId="2147482726"/>
            <ac:spMk id="11" creationId="{53F47CD6-E5A9-B88B-67D2-347561431BF9}"/>
          </ac:spMkLst>
        </pc:spChg>
        <pc:spChg chg="add mod">
          <ac:chgData name="Camila Valbuena" userId="96dddc91-0310-4901-8518-e86c705ebbd6" providerId="ADAL" clId="{289F64AF-0AA4-47A6-8069-0B1D64FC8B4F}" dt="2024-07-08T23:38:16.371" v="5040"/>
          <ac:spMkLst>
            <pc:docMk/>
            <pc:sldMk cId="1715933373" sldId="2147482726"/>
            <ac:spMk id="12" creationId="{577C2897-3CC7-C899-9BDD-2D7B401237EB}"/>
          </ac:spMkLst>
        </pc:spChg>
        <pc:spChg chg="add mod">
          <ac:chgData name="Camila Valbuena" userId="96dddc91-0310-4901-8518-e86c705ebbd6" providerId="ADAL" clId="{289F64AF-0AA4-47A6-8069-0B1D64FC8B4F}" dt="2024-07-08T23:38:16.371" v="5040"/>
          <ac:spMkLst>
            <pc:docMk/>
            <pc:sldMk cId="1715933373" sldId="2147482726"/>
            <ac:spMk id="14" creationId="{A0766F56-070C-CFE5-E542-3D62FE2CC234}"/>
          </ac:spMkLst>
        </pc:spChg>
        <pc:spChg chg="del">
          <ac:chgData name="Camila Valbuena" userId="96dddc91-0310-4901-8518-e86c705ebbd6" providerId="ADAL" clId="{289F64AF-0AA4-47A6-8069-0B1D64FC8B4F}" dt="2024-07-08T23:32:22.653" v="4938" actId="478"/>
          <ac:spMkLst>
            <pc:docMk/>
            <pc:sldMk cId="1715933373" sldId="2147482726"/>
            <ac:spMk id="15" creationId="{ED8964C2-0094-75A6-CEC6-E55BBDDF8B34}"/>
          </ac:spMkLst>
        </pc:spChg>
        <pc:spChg chg="add mod">
          <ac:chgData name="Camila Valbuena" userId="96dddc91-0310-4901-8518-e86c705ebbd6" providerId="ADAL" clId="{289F64AF-0AA4-47A6-8069-0B1D64FC8B4F}" dt="2024-07-08T23:38:16.371" v="5040"/>
          <ac:spMkLst>
            <pc:docMk/>
            <pc:sldMk cId="1715933373" sldId="2147482726"/>
            <ac:spMk id="16" creationId="{2D9A57D0-F6F0-6A7C-0F73-214CE9E77E1A}"/>
          </ac:spMkLst>
        </pc:spChg>
        <pc:spChg chg="add mod">
          <ac:chgData name="Camila Valbuena" userId="96dddc91-0310-4901-8518-e86c705ebbd6" providerId="ADAL" clId="{289F64AF-0AA4-47A6-8069-0B1D64FC8B4F}" dt="2024-07-08T23:38:16.371" v="5040"/>
          <ac:spMkLst>
            <pc:docMk/>
            <pc:sldMk cId="1715933373" sldId="2147482726"/>
            <ac:spMk id="17" creationId="{DF1914B0-5551-6469-99CC-6B0302B458B4}"/>
          </ac:spMkLst>
        </pc:spChg>
        <pc:spChg chg="add mod">
          <ac:chgData name="Camila Valbuena" userId="96dddc91-0310-4901-8518-e86c705ebbd6" providerId="ADAL" clId="{289F64AF-0AA4-47A6-8069-0B1D64FC8B4F}" dt="2024-07-08T23:50:33.827" v="5201" actId="1076"/>
          <ac:spMkLst>
            <pc:docMk/>
            <pc:sldMk cId="1715933373" sldId="2147482726"/>
            <ac:spMk id="18" creationId="{61082C5F-1838-C86C-6948-4374682D3118}"/>
          </ac:spMkLst>
        </pc:spChg>
        <pc:spChg chg="del">
          <ac:chgData name="Camila Valbuena" userId="96dddc91-0310-4901-8518-e86c705ebbd6" providerId="ADAL" clId="{289F64AF-0AA4-47A6-8069-0B1D64FC8B4F}" dt="2024-07-08T23:32:25.402" v="4939" actId="478"/>
          <ac:spMkLst>
            <pc:docMk/>
            <pc:sldMk cId="1715933373" sldId="2147482726"/>
            <ac:spMk id="19" creationId="{C513686B-45C4-0222-FBC8-74715668B7FE}"/>
          </ac:spMkLst>
        </pc:spChg>
        <pc:spChg chg="del">
          <ac:chgData name="Camila Valbuena" userId="96dddc91-0310-4901-8518-e86c705ebbd6" providerId="ADAL" clId="{289F64AF-0AA4-47A6-8069-0B1D64FC8B4F}" dt="2024-07-08T23:32:25.402" v="4939" actId="478"/>
          <ac:spMkLst>
            <pc:docMk/>
            <pc:sldMk cId="1715933373" sldId="2147482726"/>
            <ac:spMk id="20" creationId="{145C025C-1117-3D3B-DA6B-AB9D7F554420}"/>
          </ac:spMkLst>
        </pc:spChg>
        <pc:spChg chg="add mod">
          <ac:chgData name="Camila Valbuena" userId="96dddc91-0310-4901-8518-e86c705ebbd6" providerId="ADAL" clId="{289F64AF-0AA4-47A6-8069-0B1D64FC8B4F}" dt="2024-07-08T23:50:26.237" v="5199" actId="1038"/>
          <ac:spMkLst>
            <pc:docMk/>
            <pc:sldMk cId="1715933373" sldId="2147482726"/>
            <ac:spMk id="21" creationId="{B32094B8-78D5-769D-FB4E-1F66DEA640B6}"/>
          </ac:spMkLst>
        </pc:spChg>
        <pc:spChg chg="add mod">
          <ac:chgData name="Camila Valbuena" userId="96dddc91-0310-4901-8518-e86c705ebbd6" providerId="ADAL" clId="{289F64AF-0AA4-47A6-8069-0B1D64FC8B4F}" dt="2024-07-08T23:50:36.910" v="5202" actId="1076"/>
          <ac:spMkLst>
            <pc:docMk/>
            <pc:sldMk cId="1715933373" sldId="2147482726"/>
            <ac:spMk id="22" creationId="{3FF03454-0081-7F73-1D53-3E6164E74DC7}"/>
          </ac:spMkLst>
        </pc:spChg>
        <pc:spChg chg="add mod">
          <ac:chgData name="Camila Valbuena" userId="96dddc91-0310-4901-8518-e86c705ebbd6" providerId="ADAL" clId="{289F64AF-0AA4-47A6-8069-0B1D64FC8B4F}" dt="2024-07-08T23:50:49.563" v="5206" actId="14100"/>
          <ac:spMkLst>
            <pc:docMk/>
            <pc:sldMk cId="1715933373" sldId="2147482726"/>
            <ac:spMk id="23" creationId="{284A5CBC-FB3B-FC7D-C249-457FAF54A777}"/>
          </ac:spMkLst>
        </pc:spChg>
        <pc:spChg chg="add mod">
          <ac:chgData name="Camila Valbuena" userId="96dddc91-0310-4901-8518-e86c705ebbd6" providerId="ADAL" clId="{289F64AF-0AA4-47A6-8069-0B1D64FC8B4F}" dt="2024-07-08T23:50:51.446" v="5208" actId="1035"/>
          <ac:spMkLst>
            <pc:docMk/>
            <pc:sldMk cId="1715933373" sldId="2147482726"/>
            <ac:spMk id="24" creationId="{0A5D2FD3-F26A-3355-BA48-6FE881E0BC50}"/>
          </ac:spMkLst>
        </pc:spChg>
        <pc:spChg chg="add mod">
          <ac:chgData name="Camila Valbuena" userId="96dddc91-0310-4901-8518-e86c705ebbd6" providerId="ADAL" clId="{289F64AF-0AA4-47A6-8069-0B1D64FC8B4F}" dt="2024-07-08T23:51:10.559" v="5213" actId="14100"/>
          <ac:spMkLst>
            <pc:docMk/>
            <pc:sldMk cId="1715933373" sldId="2147482726"/>
            <ac:spMk id="25" creationId="{6C481BB2-7232-8BCF-4EE0-17BA139BC0EA}"/>
          </ac:spMkLst>
        </pc:spChg>
        <pc:spChg chg="add mod">
          <ac:chgData name="Camila Valbuena" userId="96dddc91-0310-4901-8518-e86c705ebbd6" providerId="ADAL" clId="{289F64AF-0AA4-47A6-8069-0B1D64FC8B4F}" dt="2024-07-08T23:51:51.821" v="5225" actId="1038"/>
          <ac:spMkLst>
            <pc:docMk/>
            <pc:sldMk cId="1715933373" sldId="2147482726"/>
            <ac:spMk id="26" creationId="{53F47CD6-E5A9-B88B-67D2-347561431BF9}"/>
          </ac:spMkLst>
        </pc:spChg>
        <pc:spChg chg="add mod">
          <ac:chgData name="Camila Valbuena" userId="96dddc91-0310-4901-8518-e86c705ebbd6" providerId="ADAL" clId="{289F64AF-0AA4-47A6-8069-0B1D64FC8B4F}" dt="2024-07-08T23:51:56.178" v="5227" actId="14100"/>
          <ac:spMkLst>
            <pc:docMk/>
            <pc:sldMk cId="1715933373" sldId="2147482726"/>
            <ac:spMk id="27" creationId="{577C2897-3CC7-C899-9BDD-2D7B401237EB}"/>
          </ac:spMkLst>
        </pc:spChg>
        <pc:spChg chg="add del mod">
          <ac:chgData name="Camila Valbuena" userId="96dddc91-0310-4901-8518-e86c705ebbd6" providerId="ADAL" clId="{289F64AF-0AA4-47A6-8069-0B1D64FC8B4F}" dt="2024-07-08T23:51:59.282" v="5228" actId="478"/>
          <ac:spMkLst>
            <pc:docMk/>
            <pc:sldMk cId="1715933373" sldId="2147482726"/>
            <ac:spMk id="29" creationId="{A0766F56-070C-CFE5-E542-3D62FE2CC234}"/>
          </ac:spMkLst>
        </pc:spChg>
        <pc:spChg chg="add mod">
          <ac:chgData name="Camila Valbuena" userId="96dddc91-0310-4901-8518-e86c705ebbd6" providerId="ADAL" clId="{289F64AF-0AA4-47A6-8069-0B1D64FC8B4F}" dt="2024-07-08T23:52:04.463" v="5229" actId="1076"/>
          <ac:spMkLst>
            <pc:docMk/>
            <pc:sldMk cId="1715933373" sldId="2147482726"/>
            <ac:spMk id="30" creationId="{2D9A57D0-F6F0-6A7C-0F73-214CE9E77E1A}"/>
          </ac:spMkLst>
        </pc:spChg>
        <pc:spChg chg="add mod">
          <ac:chgData name="Camila Valbuena" userId="96dddc91-0310-4901-8518-e86c705ebbd6" providerId="ADAL" clId="{289F64AF-0AA4-47A6-8069-0B1D64FC8B4F}" dt="2024-07-08T23:52:08.141" v="5230" actId="1076"/>
          <ac:spMkLst>
            <pc:docMk/>
            <pc:sldMk cId="1715933373" sldId="2147482726"/>
            <ac:spMk id="31" creationId="{DF1914B0-5551-6469-99CC-6B0302B458B4}"/>
          </ac:spMkLst>
        </pc:spChg>
        <pc:spChg chg="add mod">
          <ac:chgData name="Camila Valbuena" userId="96dddc91-0310-4901-8518-e86c705ebbd6" providerId="ADAL" clId="{289F64AF-0AA4-47A6-8069-0B1D64FC8B4F}" dt="2024-07-08T23:52:13.854" v="5232" actId="1076"/>
          <ac:spMkLst>
            <pc:docMk/>
            <pc:sldMk cId="1715933373" sldId="2147482726"/>
            <ac:spMk id="32" creationId="{759AD607-5D06-1EB4-442A-289DB6A7A5A8}"/>
          </ac:spMkLst>
        </pc:spChg>
        <pc:spChg chg="add mod">
          <ac:chgData name="Camila Valbuena" userId="96dddc91-0310-4901-8518-e86c705ebbd6" providerId="ADAL" clId="{289F64AF-0AA4-47A6-8069-0B1D64FC8B4F}" dt="2024-07-08T23:52:13.854" v="5232" actId="1076"/>
          <ac:spMkLst>
            <pc:docMk/>
            <pc:sldMk cId="1715933373" sldId="2147482726"/>
            <ac:spMk id="33" creationId="{77B73006-9785-3521-E388-8618156D4CB3}"/>
          </ac:spMkLst>
        </pc:spChg>
        <pc:spChg chg="add mod">
          <ac:chgData name="Camila Valbuena" userId="96dddc91-0310-4901-8518-e86c705ebbd6" providerId="ADAL" clId="{289F64AF-0AA4-47A6-8069-0B1D64FC8B4F}" dt="2024-07-08T23:52:51.263" v="5240" actId="1076"/>
          <ac:spMkLst>
            <pc:docMk/>
            <pc:sldMk cId="1715933373" sldId="2147482726"/>
            <ac:spMk id="34" creationId="{D3E7CDB0-2F26-F235-BCCF-5D2BBFBEE011}"/>
          </ac:spMkLst>
        </pc:spChg>
        <pc:graphicFrameChg chg="add del mod modGraphic">
          <ac:chgData name="Camila Valbuena" userId="96dddc91-0310-4901-8518-e86c705ebbd6" providerId="ADAL" clId="{289F64AF-0AA4-47A6-8069-0B1D64FC8B4F}" dt="2024-07-08T23:53:13.453" v="5247" actId="122"/>
          <ac:graphicFrameMkLst>
            <pc:docMk/>
            <pc:sldMk cId="1715933373" sldId="2147482726"/>
            <ac:graphicFrameMk id="2" creationId="{EC14C841-CE97-A8BB-7E84-CA004CD1F011}"/>
          </ac:graphicFrameMkLst>
        </pc:graphicFrameChg>
        <pc:picChg chg="del">
          <ac:chgData name="Camila Valbuena" userId="96dddc91-0310-4901-8518-e86c705ebbd6" providerId="ADAL" clId="{289F64AF-0AA4-47A6-8069-0B1D64FC8B4F}" dt="2024-07-08T23:32:22.653" v="4938" actId="478"/>
          <ac:picMkLst>
            <pc:docMk/>
            <pc:sldMk cId="1715933373" sldId="2147482726"/>
            <ac:picMk id="8194" creationId="{2D6C9DDF-B59C-9C8D-1CB9-7CED538A3529}"/>
          </ac:picMkLst>
        </pc:picChg>
      </pc:sldChg>
      <pc:sldChg chg="addSp delSp modSp add mod ord modAnim">
        <pc:chgData name="Camila Valbuena" userId="96dddc91-0310-4901-8518-e86c705ebbd6" providerId="ADAL" clId="{289F64AF-0AA4-47A6-8069-0B1D64FC8B4F}" dt="2024-07-09T00:04:27.786" v="5593" actId="1076"/>
        <pc:sldMkLst>
          <pc:docMk/>
          <pc:sldMk cId="63295856" sldId="2147482727"/>
        </pc:sldMkLst>
        <pc:spChg chg="add mod">
          <ac:chgData name="Camila Valbuena" userId="96dddc91-0310-4901-8518-e86c705ebbd6" providerId="ADAL" clId="{289F64AF-0AA4-47A6-8069-0B1D64FC8B4F}" dt="2024-07-09T00:04:13.485" v="5591" actId="20577"/>
          <ac:spMkLst>
            <pc:docMk/>
            <pc:sldMk cId="63295856" sldId="2147482727"/>
            <ac:spMk id="2" creationId="{BFC75868-147F-BCBF-F637-957AFBB4B00F}"/>
          </ac:spMkLst>
        </pc:spChg>
        <pc:spChg chg="del">
          <ac:chgData name="Camila Valbuena" userId="96dddc91-0310-4901-8518-e86c705ebbd6" providerId="ADAL" clId="{289F64AF-0AA4-47A6-8069-0B1D64FC8B4F}" dt="2024-07-09T00:02:45.212" v="5518" actId="478"/>
          <ac:spMkLst>
            <pc:docMk/>
            <pc:sldMk cId="63295856" sldId="2147482727"/>
            <ac:spMk id="3" creationId="{3F057E8E-4268-CA69-0A60-64DC96BA731D}"/>
          </ac:spMkLst>
        </pc:spChg>
        <pc:spChg chg="add mod">
          <ac:chgData name="Camila Valbuena" userId="96dddc91-0310-4901-8518-e86c705ebbd6" providerId="ADAL" clId="{289F64AF-0AA4-47A6-8069-0B1D64FC8B4F}" dt="2024-07-09T00:04:27.786" v="5593" actId="1076"/>
          <ac:spMkLst>
            <pc:docMk/>
            <pc:sldMk cId="63295856" sldId="2147482727"/>
            <ac:spMk id="4" creationId="{324B47F1-6992-1C0A-F981-5FC36AC810F1}"/>
          </ac:spMkLst>
        </pc:spChg>
        <pc:spChg chg="add mod">
          <ac:chgData name="Camila Valbuena" userId="96dddc91-0310-4901-8518-e86c705ebbd6" providerId="ADAL" clId="{289F64AF-0AA4-47A6-8069-0B1D64FC8B4F}" dt="2024-07-09T00:04:27.786" v="5593" actId="1076"/>
          <ac:spMkLst>
            <pc:docMk/>
            <pc:sldMk cId="63295856" sldId="2147482727"/>
            <ac:spMk id="6" creationId="{4E5F52E7-BDA7-4955-4854-0FDABDB31F33}"/>
          </ac:spMkLst>
        </pc:spChg>
        <pc:spChg chg="add mod">
          <ac:chgData name="Camila Valbuena" userId="96dddc91-0310-4901-8518-e86c705ebbd6" providerId="ADAL" clId="{289F64AF-0AA4-47A6-8069-0B1D64FC8B4F}" dt="2024-07-09T00:04:27.786" v="5593" actId="1076"/>
          <ac:spMkLst>
            <pc:docMk/>
            <pc:sldMk cId="63295856" sldId="2147482727"/>
            <ac:spMk id="7" creationId="{655E9492-48F2-5214-1FBA-A7F50E33CB06}"/>
          </ac:spMkLst>
        </pc:spChg>
        <pc:spChg chg="add mod">
          <ac:chgData name="Camila Valbuena" userId="96dddc91-0310-4901-8518-e86c705ebbd6" providerId="ADAL" clId="{289F64AF-0AA4-47A6-8069-0B1D64FC8B4F}" dt="2024-07-09T00:04:27.786" v="5593" actId="1076"/>
          <ac:spMkLst>
            <pc:docMk/>
            <pc:sldMk cId="63295856" sldId="2147482727"/>
            <ac:spMk id="10" creationId="{9760EA4A-C42A-CC1D-BBE7-F07FE6937500}"/>
          </ac:spMkLst>
        </pc:spChg>
        <pc:spChg chg="mod">
          <ac:chgData name="Camila Valbuena" userId="96dddc91-0310-4901-8518-e86c705ebbd6" providerId="ADAL" clId="{289F64AF-0AA4-47A6-8069-0B1D64FC8B4F}" dt="2024-07-09T00:03:22.598" v="5531" actId="20577"/>
          <ac:spMkLst>
            <pc:docMk/>
            <pc:sldMk cId="63295856" sldId="2147482727"/>
            <ac:spMk id="21" creationId="{F7851A6A-B8AD-F4F1-2396-67EDBFD7A6DB}"/>
          </ac:spMkLst>
        </pc:spChg>
        <pc:spChg chg="del">
          <ac:chgData name="Camila Valbuena" userId="96dddc91-0310-4901-8518-e86c705ebbd6" providerId="ADAL" clId="{289F64AF-0AA4-47A6-8069-0B1D64FC8B4F}" dt="2024-07-09T00:02:45.212" v="5518" actId="478"/>
          <ac:spMkLst>
            <pc:docMk/>
            <pc:sldMk cId="63295856" sldId="2147482727"/>
            <ac:spMk id="40" creationId="{C57BFCAF-92E0-3E4F-5CEE-70A9DBF6C04A}"/>
          </ac:spMkLst>
        </pc:spChg>
        <pc:spChg chg="del">
          <ac:chgData name="Camila Valbuena" userId="96dddc91-0310-4901-8518-e86c705ebbd6" providerId="ADAL" clId="{289F64AF-0AA4-47A6-8069-0B1D64FC8B4F}" dt="2024-07-09T00:02:45.212" v="5518" actId="478"/>
          <ac:spMkLst>
            <pc:docMk/>
            <pc:sldMk cId="63295856" sldId="2147482727"/>
            <ac:spMk id="41" creationId="{5A86F2E6-57D4-2303-F9A8-043EAD5B922F}"/>
          </ac:spMkLst>
        </pc:spChg>
        <pc:spChg chg="del">
          <ac:chgData name="Camila Valbuena" userId="96dddc91-0310-4901-8518-e86c705ebbd6" providerId="ADAL" clId="{289F64AF-0AA4-47A6-8069-0B1D64FC8B4F}" dt="2024-07-09T00:02:45.212" v="5518" actId="478"/>
          <ac:spMkLst>
            <pc:docMk/>
            <pc:sldMk cId="63295856" sldId="2147482727"/>
            <ac:spMk id="42" creationId="{3DE63C5B-1195-5E92-134A-016DC6F076F8}"/>
          </ac:spMkLst>
        </pc:spChg>
        <pc:spChg chg="del">
          <ac:chgData name="Camila Valbuena" userId="96dddc91-0310-4901-8518-e86c705ebbd6" providerId="ADAL" clId="{289F64AF-0AA4-47A6-8069-0B1D64FC8B4F}" dt="2024-07-09T00:02:45.212" v="5518" actId="478"/>
          <ac:spMkLst>
            <pc:docMk/>
            <pc:sldMk cId="63295856" sldId="2147482727"/>
            <ac:spMk id="43" creationId="{478DB20A-C9F6-CBF9-ACE7-48ED2D23CB54}"/>
          </ac:spMkLst>
        </pc:spChg>
        <pc:spChg chg="del">
          <ac:chgData name="Camila Valbuena" userId="96dddc91-0310-4901-8518-e86c705ebbd6" providerId="ADAL" clId="{289F64AF-0AA4-47A6-8069-0B1D64FC8B4F}" dt="2024-07-09T00:02:45.212" v="5518" actId="478"/>
          <ac:spMkLst>
            <pc:docMk/>
            <pc:sldMk cId="63295856" sldId="2147482727"/>
            <ac:spMk id="44" creationId="{1049C68B-0A14-AF6F-9C99-5678BAB0AA29}"/>
          </ac:spMkLst>
        </pc:spChg>
        <pc:spChg chg="del">
          <ac:chgData name="Camila Valbuena" userId="96dddc91-0310-4901-8518-e86c705ebbd6" providerId="ADAL" clId="{289F64AF-0AA4-47A6-8069-0B1D64FC8B4F}" dt="2024-07-09T00:02:45.212" v="5518" actId="478"/>
          <ac:spMkLst>
            <pc:docMk/>
            <pc:sldMk cId="63295856" sldId="2147482727"/>
            <ac:spMk id="45" creationId="{2508A0D4-F1D8-B815-720D-020ABCC4C6E2}"/>
          </ac:spMkLst>
        </pc:spChg>
        <pc:spChg chg="del">
          <ac:chgData name="Camila Valbuena" userId="96dddc91-0310-4901-8518-e86c705ebbd6" providerId="ADAL" clId="{289F64AF-0AA4-47A6-8069-0B1D64FC8B4F}" dt="2024-07-09T00:02:45.212" v="5518" actId="478"/>
          <ac:spMkLst>
            <pc:docMk/>
            <pc:sldMk cId="63295856" sldId="2147482727"/>
            <ac:spMk id="46" creationId="{A4866096-12AC-3658-517C-95E5A9F6D3C7}"/>
          </ac:spMkLst>
        </pc:spChg>
        <pc:spChg chg="del">
          <ac:chgData name="Camila Valbuena" userId="96dddc91-0310-4901-8518-e86c705ebbd6" providerId="ADAL" clId="{289F64AF-0AA4-47A6-8069-0B1D64FC8B4F}" dt="2024-07-09T00:02:45.212" v="5518" actId="478"/>
          <ac:spMkLst>
            <pc:docMk/>
            <pc:sldMk cId="63295856" sldId="2147482727"/>
            <ac:spMk id="47" creationId="{E3C5426C-7EBF-3C7B-1C73-D54E9ADAB764}"/>
          </ac:spMkLst>
        </pc:spChg>
        <pc:spChg chg="del">
          <ac:chgData name="Camila Valbuena" userId="96dddc91-0310-4901-8518-e86c705ebbd6" providerId="ADAL" clId="{289F64AF-0AA4-47A6-8069-0B1D64FC8B4F}" dt="2024-07-09T00:02:45.212" v="5518" actId="478"/>
          <ac:spMkLst>
            <pc:docMk/>
            <pc:sldMk cId="63295856" sldId="2147482727"/>
            <ac:spMk id="48" creationId="{EA01C91F-7789-44AE-B474-52EFB20B8313}"/>
          </ac:spMkLst>
        </pc:spChg>
        <pc:spChg chg="del">
          <ac:chgData name="Camila Valbuena" userId="96dddc91-0310-4901-8518-e86c705ebbd6" providerId="ADAL" clId="{289F64AF-0AA4-47A6-8069-0B1D64FC8B4F}" dt="2024-07-09T00:02:45.212" v="5518" actId="478"/>
          <ac:spMkLst>
            <pc:docMk/>
            <pc:sldMk cId="63295856" sldId="2147482727"/>
            <ac:spMk id="49" creationId="{065D5267-2DB8-E5FC-6367-B7AD172A6E80}"/>
          </ac:spMkLst>
        </pc:spChg>
        <pc:spChg chg="del">
          <ac:chgData name="Camila Valbuena" userId="96dddc91-0310-4901-8518-e86c705ebbd6" providerId="ADAL" clId="{289F64AF-0AA4-47A6-8069-0B1D64FC8B4F}" dt="2024-07-09T00:02:45.212" v="5518" actId="478"/>
          <ac:spMkLst>
            <pc:docMk/>
            <pc:sldMk cId="63295856" sldId="2147482727"/>
            <ac:spMk id="54" creationId="{3F547FB5-849B-4694-F0B3-B21A1796E4CD}"/>
          </ac:spMkLst>
        </pc:spChg>
        <pc:spChg chg="del">
          <ac:chgData name="Camila Valbuena" userId="96dddc91-0310-4901-8518-e86c705ebbd6" providerId="ADAL" clId="{289F64AF-0AA4-47A6-8069-0B1D64FC8B4F}" dt="2024-07-09T00:02:45.212" v="5518" actId="478"/>
          <ac:spMkLst>
            <pc:docMk/>
            <pc:sldMk cId="63295856" sldId="2147482727"/>
            <ac:spMk id="55" creationId="{6C2EDDBF-592E-63F0-6EE5-DCCE741AE5E4}"/>
          </ac:spMkLst>
        </pc:spChg>
        <pc:spChg chg="del">
          <ac:chgData name="Camila Valbuena" userId="96dddc91-0310-4901-8518-e86c705ebbd6" providerId="ADAL" clId="{289F64AF-0AA4-47A6-8069-0B1D64FC8B4F}" dt="2024-07-09T00:02:45.212" v="5518" actId="478"/>
          <ac:spMkLst>
            <pc:docMk/>
            <pc:sldMk cId="63295856" sldId="2147482727"/>
            <ac:spMk id="56" creationId="{50564E91-0FB6-4B97-6B90-35DAFBB253A2}"/>
          </ac:spMkLst>
        </pc:spChg>
        <pc:spChg chg="del">
          <ac:chgData name="Camila Valbuena" userId="96dddc91-0310-4901-8518-e86c705ebbd6" providerId="ADAL" clId="{289F64AF-0AA4-47A6-8069-0B1D64FC8B4F}" dt="2024-07-09T00:02:45.212" v="5518" actId="478"/>
          <ac:spMkLst>
            <pc:docMk/>
            <pc:sldMk cId="63295856" sldId="2147482727"/>
            <ac:spMk id="57" creationId="{11597A19-67A0-9E12-E77A-14295187505E}"/>
          </ac:spMkLst>
        </pc:spChg>
        <pc:spChg chg="del">
          <ac:chgData name="Camila Valbuena" userId="96dddc91-0310-4901-8518-e86c705ebbd6" providerId="ADAL" clId="{289F64AF-0AA4-47A6-8069-0B1D64FC8B4F}" dt="2024-07-09T00:02:45.212" v="5518" actId="478"/>
          <ac:spMkLst>
            <pc:docMk/>
            <pc:sldMk cId="63295856" sldId="2147482727"/>
            <ac:spMk id="58" creationId="{5DBA399E-45B8-9A2F-F806-841291727212}"/>
          </ac:spMkLst>
        </pc:spChg>
        <pc:spChg chg="del">
          <ac:chgData name="Camila Valbuena" userId="96dddc91-0310-4901-8518-e86c705ebbd6" providerId="ADAL" clId="{289F64AF-0AA4-47A6-8069-0B1D64FC8B4F}" dt="2024-07-09T00:02:45.212" v="5518" actId="478"/>
          <ac:spMkLst>
            <pc:docMk/>
            <pc:sldMk cId="63295856" sldId="2147482727"/>
            <ac:spMk id="59" creationId="{CD8748E1-B375-9BCC-0A35-2231E205C3FA}"/>
          </ac:spMkLst>
        </pc:spChg>
        <pc:spChg chg="del">
          <ac:chgData name="Camila Valbuena" userId="96dddc91-0310-4901-8518-e86c705ebbd6" providerId="ADAL" clId="{289F64AF-0AA4-47A6-8069-0B1D64FC8B4F}" dt="2024-07-09T00:02:45.212" v="5518" actId="478"/>
          <ac:spMkLst>
            <pc:docMk/>
            <pc:sldMk cId="63295856" sldId="2147482727"/>
            <ac:spMk id="62" creationId="{50531CB9-CB93-823E-B480-E5C8D279ED81}"/>
          </ac:spMkLst>
        </pc:spChg>
        <pc:spChg chg="del">
          <ac:chgData name="Camila Valbuena" userId="96dddc91-0310-4901-8518-e86c705ebbd6" providerId="ADAL" clId="{289F64AF-0AA4-47A6-8069-0B1D64FC8B4F}" dt="2024-07-09T00:02:45.212" v="5518" actId="478"/>
          <ac:spMkLst>
            <pc:docMk/>
            <pc:sldMk cId="63295856" sldId="2147482727"/>
            <ac:spMk id="63" creationId="{A705D512-038A-539B-08A1-3E80FF2CE05C}"/>
          </ac:spMkLst>
        </pc:spChg>
        <pc:spChg chg="del">
          <ac:chgData name="Camila Valbuena" userId="96dddc91-0310-4901-8518-e86c705ebbd6" providerId="ADAL" clId="{289F64AF-0AA4-47A6-8069-0B1D64FC8B4F}" dt="2024-07-09T00:02:45.212" v="5518" actId="478"/>
          <ac:spMkLst>
            <pc:docMk/>
            <pc:sldMk cId="63295856" sldId="2147482727"/>
            <ac:spMk id="2048" creationId="{789FF08E-C1A2-A682-D7D3-063F8167B820}"/>
          </ac:spMkLst>
        </pc:spChg>
        <pc:spChg chg="del">
          <ac:chgData name="Camila Valbuena" userId="96dddc91-0310-4901-8518-e86c705ebbd6" providerId="ADAL" clId="{289F64AF-0AA4-47A6-8069-0B1D64FC8B4F}" dt="2024-07-09T00:02:45.212" v="5518" actId="478"/>
          <ac:spMkLst>
            <pc:docMk/>
            <pc:sldMk cId="63295856" sldId="2147482727"/>
            <ac:spMk id="2049" creationId="{7924562C-11B7-B779-8FE8-DB26C607A09D}"/>
          </ac:spMkLst>
        </pc:spChg>
        <pc:spChg chg="del">
          <ac:chgData name="Camila Valbuena" userId="96dddc91-0310-4901-8518-e86c705ebbd6" providerId="ADAL" clId="{289F64AF-0AA4-47A6-8069-0B1D64FC8B4F}" dt="2024-07-09T00:02:45.212" v="5518" actId="478"/>
          <ac:spMkLst>
            <pc:docMk/>
            <pc:sldMk cId="63295856" sldId="2147482727"/>
            <ac:spMk id="2051" creationId="{7E84F4CC-55D8-0F2E-7E39-804C8086A676}"/>
          </ac:spMkLst>
        </pc:spChg>
        <pc:spChg chg="del">
          <ac:chgData name="Camila Valbuena" userId="96dddc91-0310-4901-8518-e86c705ebbd6" providerId="ADAL" clId="{289F64AF-0AA4-47A6-8069-0B1D64FC8B4F}" dt="2024-07-09T00:02:45.212" v="5518" actId="478"/>
          <ac:spMkLst>
            <pc:docMk/>
            <pc:sldMk cId="63295856" sldId="2147482727"/>
            <ac:spMk id="2052" creationId="{1F87F3CC-F5A6-3B0B-41BA-9F25BB0478A1}"/>
          </ac:spMkLst>
        </pc:spChg>
        <pc:spChg chg="del">
          <ac:chgData name="Camila Valbuena" userId="96dddc91-0310-4901-8518-e86c705ebbd6" providerId="ADAL" clId="{289F64AF-0AA4-47A6-8069-0B1D64FC8B4F}" dt="2024-07-09T00:02:45.212" v="5518" actId="478"/>
          <ac:spMkLst>
            <pc:docMk/>
            <pc:sldMk cId="63295856" sldId="2147482727"/>
            <ac:spMk id="2053" creationId="{3FAB8156-5B35-9EDE-3919-C49CFA9CAC37}"/>
          </ac:spMkLst>
        </pc:spChg>
        <pc:spChg chg="del">
          <ac:chgData name="Camila Valbuena" userId="96dddc91-0310-4901-8518-e86c705ebbd6" providerId="ADAL" clId="{289F64AF-0AA4-47A6-8069-0B1D64FC8B4F}" dt="2024-07-09T00:02:45.212" v="5518" actId="478"/>
          <ac:spMkLst>
            <pc:docMk/>
            <pc:sldMk cId="63295856" sldId="2147482727"/>
            <ac:spMk id="2057" creationId="{130C7638-7999-F001-DAB8-4BA371316C89}"/>
          </ac:spMkLst>
        </pc:spChg>
        <pc:spChg chg="del">
          <ac:chgData name="Camila Valbuena" userId="96dddc91-0310-4901-8518-e86c705ebbd6" providerId="ADAL" clId="{289F64AF-0AA4-47A6-8069-0B1D64FC8B4F}" dt="2024-07-09T00:02:45.212" v="5518" actId="478"/>
          <ac:spMkLst>
            <pc:docMk/>
            <pc:sldMk cId="63295856" sldId="2147482727"/>
            <ac:spMk id="2058" creationId="{FE341C77-7D1F-7B1D-657B-D6BC8503026E}"/>
          </ac:spMkLst>
        </pc:spChg>
        <pc:spChg chg="del">
          <ac:chgData name="Camila Valbuena" userId="96dddc91-0310-4901-8518-e86c705ebbd6" providerId="ADAL" clId="{289F64AF-0AA4-47A6-8069-0B1D64FC8B4F}" dt="2024-07-09T00:02:45.212" v="5518" actId="478"/>
          <ac:spMkLst>
            <pc:docMk/>
            <pc:sldMk cId="63295856" sldId="2147482727"/>
            <ac:spMk id="2059" creationId="{323E8E00-E950-CDC4-3645-ADCA0F49C1F2}"/>
          </ac:spMkLst>
        </pc:spChg>
        <pc:spChg chg="del">
          <ac:chgData name="Camila Valbuena" userId="96dddc91-0310-4901-8518-e86c705ebbd6" providerId="ADAL" clId="{289F64AF-0AA4-47A6-8069-0B1D64FC8B4F}" dt="2024-07-09T00:02:45.212" v="5518" actId="478"/>
          <ac:spMkLst>
            <pc:docMk/>
            <pc:sldMk cId="63295856" sldId="2147482727"/>
            <ac:spMk id="2060" creationId="{09703DC3-E055-966A-0DCE-013414CA696D}"/>
          </ac:spMkLst>
        </pc:spChg>
        <pc:spChg chg="del">
          <ac:chgData name="Camila Valbuena" userId="96dddc91-0310-4901-8518-e86c705ebbd6" providerId="ADAL" clId="{289F64AF-0AA4-47A6-8069-0B1D64FC8B4F}" dt="2024-07-09T00:02:45.212" v="5518" actId="478"/>
          <ac:spMkLst>
            <pc:docMk/>
            <pc:sldMk cId="63295856" sldId="2147482727"/>
            <ac:spMk id="2061" creationId="{B84872C5-AC69-D4B7-7A2D-B87D31D0180B}"/>
          </ac:spMkLst>
        </pc:spChg>
        <pc:spChg chg="del">
          <ac:chgData name="Camila Valbuena" userId="96dddc91-0310-4901-8518-e86c705ebbd6" providerId="ADAL" clId="{289F64AF-0AA4-47A6-8069-0B1D64FC8B4F}" dt="2024-07-09T00:02:45.212" v="5518" actId="478"/>
          <ac:spMkLst>
            <pc:docMk/>
            <pc:sldMk cId="63295856" sldId="2147482727"/>
            <ac:spMk id="2063" creationId="{F2318FCF-B075-4DD3-B60D-FDD7E77FD420}"/>
          </ac:spMkLst>
        </pc:spChg>
        <pc:spChg chg="del">
          <ac:chgData name="Camila Valbuena" userId="96dddc91-0310-4901-8518-e86c705ebbd6" providerId="ADAL" clId="{289F64AF-0AA4-47A6-8069-0B1D64FC8B4F}" dt="2024-07-09T00:02:45.212" v="5518" actId="478"/>
          <ac:spMkLst>
            <pc:docMk/>
            <pc:sldMk cId="63295856" sldId="2147482727"/>
            <ac:spMk id="2064" creationId="{E3EE183C-814A-F9E8-7C19-203DB8A9F54E}"/>
          </ac:spMkLst>
        </pc:spChg>
        <pc:spChg chg="del">
          <ac:chgData name="Camila Valbuena" userId="96dddc91-0310-4901-8518-e86c705ebbd6" providerId="ADAL" clId="{289F64AF-0AA4-47A6-8069-0B1D64FC8B4F}" dt="2024-07-09T00:02:45.212" v="5518" actId="478"/>
          <ac:spMkLst>
            <pc:docMk/>
            <pc:sldMk cId="63295856" sldId="2147482727"/>
            <ac:spMk id="2067" creationId="{94E5EF5B-2615-E3A9-F27B-030F506270A1}"/>
          </ac:spMkLst>
        </pc:spChg>
        <pc:spChg chg="del">
          <ac:chgData name="Camila Valbuena" userId="96dddc91-0310-4901-8518-e86c705ebbd6" providerId="ADAL" clId="{289F64AF-0AA4-47A6-8069-0B1D64FC8B4F}" dt="2024-07-09T00:02:45.212" v="5518" actId="478"/>
          <ac:spMkLst>
            <pc:docMk/>
            <pc:sldMk cId="63295856" sldId="2147482727"/>
            <ac:spMk id="2068" creationId="{AD18C71D-3A56-DC5C-0BF8-1ED09467FC35}"/>
          </ac:spMkLst>
        </pc:spChg>
        <pc:spChg chg="del">
          <ac:chgData name="Camila Valbuena" userId="96dddc91-0310-4901-8518-e86c705ebbd6" providerId="ADAL" clId="{289F64AF-0AA4-47A6-8069-0B1D64FC8B4F}" dt="2024-07-09T00:02:45.212" v="5518" actId="478"/>
          <ac:spMkLst>
            <pc:docMk/>
            <pc:sldMk cId="63295856" sldId="2147482727"/>
            <ac:spMk id="2069" creationId="{A463DABA-DA2D-47B1-8AFD-E1DBA5741992}"/>
          </ac:spMkLst>
        </pc:spChg>
        <pc:spChg chg="del">
          <ac:chgData name="Camila Valbuena" userId="96dddc91-0310-4901-8518-e86c705ebbd6" providerId="ADAL" clId="{289F64AF-0AA4-47A6-8069-0B1D64FC8B4F}" dt="2024-07-09T00:02:45.212" v="5518" actId="478"/>
          <ac:spMkLst>
            <pc:docMk/>
            <pc:sldMk cId="63295856" sldId="2147482727"/>
            <ac:spMk id="2070" creationId="{4F4EC018-58E0-F3BC-7BC3-78D4295703E0}"/>
          </ac:spMkLst>
        </pc:spChg>
        <pc:spChg chg="del">
          <ac:chgData name="Camila Valbuena" userId="96dddc91-0310-4901-8518-e86c705ebbd6" providerId="ADAL" clId="{289F64AF-0AA4-47A6-8069-0B1D64FC8B4F}" dt="2024-07-09T00:02:45.212" v="5518" actId="478"/>
          <ac:spMkLst>
            <pc:docMk/>
            <pc:sldMk cId="63295856" sldId="2147482727"/>
            <ac:spMk id="2073" creationId="{D5F942B6-F8B5-2C16-3413-E521C5EE4B98}"/>
          </ac:spMkLst>
        </pc:spChg>
        <pc:spChg chg="del">
          <ac:chgData name="Camila Valbuena" userId="96dddc91-0310-4901-8518-e86c705ebbd6" providerId="ADAL" clId="{289F64AF-0AA4-47A6-8069-0B1D64FC8B4F}" dt="2024-07-09T00:02:45.212" v="5518" actId="478"/>
          <ac:spMkLst>
            <pc:docMk/>
            <pc:sldMk cId="63295856" sldId="2147482727"/>
            <ac:spMk id="2074" creationId="{0C10CADF-A68D-66C4-C31F-B183D346B976}"/>
          </ac:spMkLst>
        </pc:spChg>
        <pc:spChg chg="del">
          <ac:chgData name="Camila Valbuena" userId="96dddc91-0310-4901-8518-e86c705ebbd6" providerId="ADAL" clId="{289F64AF-0AA4-47A6-8069-0B1D64FC8B4F}" dt="2024-07-09T00:02:46.334" v="5519" actId="478"/>
          <ac:spMkLst>
            <pc:docMk/>
            <pc:sldMk cId="63295856" sldId="2147482727"/>
            <ac:spMk id="2082" creationId="{90F68DFE-2FF8-1406-648D-C9A48A7590DD}"/>
          </ac:spMkLst>
        </pc:spChg>
        <pc:spChg chg="del">
          <ac:chgData name="Camila Valbuena" userId="96dddc91-0310-4901-8518-e86c705ebbd6" providerId="ADAL" clId="{289F64AF-0AA4-47A6-8069-0B1D64FC8B4F}" dt="2024-07-09T00:02:45.212" v="5518" actId="478"/>
          <ac:spMkLst>
            <pc:docMk/>
            <pc:sldMk cId="63295856" sldId="2147482727"/>
            <ac:spMk id="2083" creationId="{AD9710C4-91FF-D010-52D0-5126C552BE08}"/>
          </ac:spMkLst>
        </pc:spChg>
        <pc:spChg chg="del">
          <ac:chgData name="Camila Valbuena" userId="96dddc91-0310-4901-8518-e86c705ebbd6" providerId="ADAL" clId="{289F64AF-0AA4-47A6-8069-0B1D64FC8B4F}" dt="2024-07-09T00:02:41.545" v="5517" actId="478"/>
          <ac:spMkLst>
            <pc:docMk/>
            <pc:sldMk cId="63295856" sldId="2147482727"/>
            <ac:spMk id="2084" creationId="{360959CF-FDE8-F2E3-0025-90548FD8FD67}"/>
          </ac:spMkLst>
        </pc:spChg>
        <pc:graphicFrameChg chg="del">
          <ac:chgData name="Camila Valbuena" userId="96dddc91-0310-4901-8518-e86c705ebbd6" providerId="ADAL" clId="{289F64AF-0AA4-47A6-8069-0B1D64FC8B4F}" dt="2024-07-09T00:02:45.212" v="5518" actId="478"/>
          <ac:graphicFrameMkLst>
            <pc:docMk/>
            <pc:sldMk cId="63295856" sldId="2147482727"/>
            <ac:graphicFrameMk id="35" creationId="{3690F72B-F960-7C91-383F-A94789F5B833}"/>
          </ac:graphicFrameMkLst>
        </pc:graphicFrameChg>
        <pc:picChg chg="add mod">
          <ac:chgData name="Camila Valbuena" userId="96dddc91-0310-4901-8518-e86c705ebbd6" providerId="ADAL" clId="{289F64AF-0AA4-47A6-8069-0B1D64FC8B4F}" dt="2024-07-09T00:04:27.786" v="5593" actId="1076"/>
          <ac:picMkLst>
            <pc:docMk/>
            <pc:sldMk cId="63295856" sldId="2147482727"/>
            <ac:picMk id="9" creationId="{CEA8348A-01F3-E24C-D9B2-801DB67D7097}"/>
          </ac:picMkLst>
        </pc:picChg>
        <pc:picChg chg="add mod">
          <ac:chgData name="Camila Valbuena" userId="96dddc91-0310-4901-8518-e86c705ebbd6" providerId="ADAL" clId="{289F64AF-0AA4-47A6-8069-0B1D64FC8B4F}" dt="2024-07-09T00:04:27.786" v="5593" actId="1076"/>
          <ac:picMkLst>
            <pc:docMk/>
            <pc:sldMk cId="63295856" sldId="2147482727"/>
            <ac:picMk id="11" creationId="{777FB3C6-52EA-AD7D-2ABB-5E842924EFAB}"/>
          </ac:picMkLst>
        </pc:picChg>
        <pc:picChg chg="del">
          <ac:chgData name="Camila Valbuena" userId="96dddc91-0310-4901-8518-e86c705ebbd6" providerId="ADAL" clId="{289F64AF-0AA4-47A6-8069-0B1D64FC8B4F}" dt="2024-07-09T00:02:45.212" v="5518" actId="478"/>
          <ac:picMkLst>
            <pc:docMk/>
            <pc:sldMk cId="63295856" sldId="2147482727"/>
            <ac:picMk id="36" creationId="{5441BAC7-3C8B-418E-484F-4BD1A79CBADE}"/>
          </ac:picMkLst>
        </pc:picChg>
        <pc:picChg chg="del">
          <ac:chgData name="Camila Valbuena" userId="96dddc91-0310-4901-8518-e86c705ebbd6" providerId="ADAL" clId="{289F64AF-0AA4-47A6-8069-0B1D64FC8B4F}" dt="2024-07-09T00:02:45.212" v="5518" actId="478"/>
          <ac:picMkLst>
            <pc:docMk/>
            <pc:sldMk cId="63295856" sldId="2147482727"/>
            <ac:picMk id="37" creationId="{31178A20-9410-5199-0E35-542A2B6D91C0}"/>
          </ac:picMkLst>
        </pc:picChg>
        <pc:picChg chg="del">
          <ac:chgData name="Camila Valbuena" userId="96dddc91-0310-4901-8518-e86c705ebbd6" providerId="ADAL" clId="{289F64AF-0AA4-47A6-8069-0B1D64FC8B4F}" dt="2024-07-09T00:02:45.212" v="5518" actId="478"/>
          <ac:picMkLst>
            <pc:docMk/>
            <pc:sldMk cId="63295856" sldId="2147482727"/>
            <ac:picMk id="38" creationId="{9C91209A-70FD-DCDB-61DA-8B12B1A4D934}"/>
          </ac:picMkLst>
        </pc:picChg>
        <pc:picChg chg="del">
          <ac:chgData name="Camila Valbuena" userId="96dddc91-0310-4901-8518-e86c705ebbd6" providerId="ADAL" clId="{289F64AF-0AA4-47A6-8069-0B1D64FC8B4F}" dt="2024-07-09T00:02:45.212" v="5518" actId="478"/>
          <ac:picMkLst>
            <pc:docMk/>
            <pc:sldMk cId="63295856" sldId="2147482727"/>
            <ac:picMk id="39" creationId="{A44005B3-7376-E484-B714-12C391497206}"/>
          </ac:picMkLst>
        </pc:picChg>
        <pc:picChg chg="del">
          <ac:chgData name="Camila Valbuena" userId="96dddc91-0310-4901-8518-e86c705ebbd6" providerId="ADAL" clId="{289F64AF-0AA4-47A6-8069-0B1D64FC8B4F}" dt="2024-07-09T00:02:45.212" v="5518" actId="478"/>
          <ac:picMkLst>
            <pc:docMk/>
            <pc:sldMk cId="63295856" sldId="2147482727"/>
            <ac:picMk id="50" creationId="{6DD07838-47FC-6C6A-CD43-EA84A3A26D82}"/>
          </ac:picMkLst>
        </pc:picChg>
        <pc:picChg chg="del">
          <ac:chgData name="Camila Valbuena" userId="96dddc91-0310-4901-8518-e86c705ebbd6" providerId="ADAL" clId="{289F64AF-0AA4-47A6-8069-0B1D64FC8B4F}" dt="2024-07-09T00:02:45.212" v="5518" actId="478"/>
          <ac:picMkLst>
            <pc:docMk/>
            <pc:sldMk cId="63295856" sldId="2147482727"/>
            <ac:picMk id="51" creationId="{EF149E56-2BEA-5DED-419D-D705D0B5900D}"/>
          </ac:picMkLst>
        </pc:picChg>
        <pc:picChg chg="del">
          <ac:chgData name="Camila Valbuena" userId="96dddc91-0310-4901-8518-e86c705ebbd6" providerId="ADAL" clId="{289F64AF-0AA4-47A6-8069-0B1D64FC8B4F}" dt="2024-07-09T00:02:45.212" v="5518" actId="478"/>
          <ac:picMkLst>
            <pc:docMk/>
            <pc:sldMk cId="63295856" sldId="2147482727"/>
            <ac:picMk id="52" creationId="{9571B5C1-E53C-E5AE-B09A-9A09EE9F471E}"/>
          </ac:picMkLst>
        </pc:picChg>
        <pc:picChg chg="del">
          <ac:chgData name="Camila Valbuena" userId="96dddc91-0310-4901-8518-e86c705ebbd6" providerId="ADAL" clId="{289F64AF-0AA4-47A6-8069-0B1D64FC8B4F}" dt="2024-07-09T00:02:45.212" v="5518" actId="478"/>
          <ac:picMkLst>
            <pc:docMk/>
            <pc:sldMk cId="63295856" sldId="2147482727"/>
            <ac:picMk id="53" creationId="{0AD911DC-56B6-E7F2-7428-1D234EF2D16F}"/>
          </ac:picMkLst>
        </pc:picChg>
        <pc:picChg chg="del">
          <ac:chgData name="Camila Valbuena" userId="96dddc91-0310-4901-8518-e86c705ebbd6" providerId="ADAL" clId="{289F64AF-0AA4-47A6-8069-0B1D64FC8B4F}" dt="2024-07-09T00:02:45.212" v="5518" actId="478"/>
          <ac:picMkLst>
            <pc:docMk/>
            <pc:sldMk cId="63295856" sldId="2147482727"/>
            <ac:picMk id="60" creationId="{0579168B-5B47-F3C6-2A5E-03D01E512FA9}"/>
          </ac:picMkLst>
        </pc:picChg>
        <pc:picChg chg="del">
          <ac:chgData name="Camila Valbuena" userId="96dddc91-0310-4901-8518-e86c705ebbd6" providerId="ADAL" clId="{289F64AF-0AA4-47A6-8069-0B1D64FC8B4F}" dt="2024-07-09T00:02:45.212" v="5518" actId="478"/>
          <ac:picMkLst>
            <pc:docMk/>
            <pc:sldMk cId="63295856" sldId="2147482727"/>
            <ac:picMk id="61" creationId="{42B9098A-80A3-52DB-2257-31529E3B60B7}"/>
          </ac:picMkLst>
        </pc:picChg>
        <pc:picChg chg="del">
          <ac:chgData name="Camila Valbuena" userId="96dddc91-0310-4901-8518-e86c705ebbd6" providerId="ADAL" clId="{289F64AF-0AA4-47A6-8069-0B1D64FC8B4F}" dt="2024-07-09T00:02:45.212" v="5518" actId="478"/>
          <ac:picMkLst>
            <pc:docMk/>
            <pc:sldMk cId="63295856" sldId="2147482727"/>
            <ac:picMk id="2054" creationId="{84F8C711-D32A-C05A-ABBA-74E0852519DA}"/>
          </ac:picMkLst>
        </pc:picChg>
        <pc:picChg chg="del">
          <ac:chgData name="Camila Valbuena" userId="96dddc91-0310-4901-8518-e86c705ebbd6" providerId="ADAL" clId="{289F64AF-0AA4-47A6-8069-0B1D64FC8B4F}" dt="2024-07-09T00:02:45.212" v="5518" actId="478"/>
          <ac:picMkLst>
            <pc:docMk/>
            <pc:sldMk cId="63295856" sldId="2147482727"/>
            <ac:picMk id="2055" creationId="{610F28B7-3EC2-6CFF-FA83-C80050D212C7}"/>
          </ac:picMkLst>
        </pc:picChg>
        <pc:picChg chg="del">
          <ac:chgData name="Camila Valbuena" userId="96dddc91-0310-4901-8518-e86c705ebbd6" providerId="ADAL" clId="{289F64AF-0AA4-47A6-8069-0B1D64FC8B4F}" dt="2024-07-09T00:02:45.212" v="5518" actId="478"/>
          <ac:picMkLst>
            <pc:docMk/>
            <pc:sldMk cId="63295856" sldId="2147482727"/>
            <ac:picMk id="2056" creationId="{CCF961E0-AC45-4B07-1629-7D164BCE2B01}"/>
          </ac:picMkLst>
        </pc:picChg>
        <pc:picChg chg="del">
          <ac:chgData name="Camila Valbuena" userId="96dddc91-0310-4901-8518-e86c705ebbd6" providerId="ADAL" clId="{289F64AF-0AA4-47A6-8069-0B1D64FC8B4F}" dt="2024-07-09T00:02:45.212" v="5518" actId="478"/>
          <ac:picMkLst>
            <pc:docMk/>
            <pc:sldMk cId="63295856" sldId="2147482727"/>
            <ac:picMk id="2062" creationId="{24839C3C-0A3A-B8F5-3E19-193DB04E3F0D}"/>
          </ac:picMkLst>
        </pc:picChg>
        <pc:picChg chg="del">
          <ac:chgData name="Camila Valbuena" userId="96dddc91-0310-4901-8518-e86c705ebbd6" providerId="ADAL" clId="{289F64AF-0AA4-47A6-8069-0B1D64FC8B4F}" dt="2024-07-09T00:02:45.212" v="5518" actId="478"/>
          <ac:picMkLst>
            <pc:docMk/>
            <pc:sldMk cId="63295856" sldId="2147482727"/>
            <ac:picMk id="2065" creationId="{A59560D1-8220-6F4F-8851-F0E3B547869B}"/>
          </ac:picMkLst>
        </pc:picChg>
        <pc:picChg chg="del">
          <ac:chgData name="Camila Valbuena" userId="96dddc91-0310-4901-8518-e86c705ebbd6" providerId="ADAL" clId="{289F64AF-0AA4-47A6-8069-0B1D64FC8B4F}" dt="2024-07-09T00:02:45.212" v="5518" actId="478"/>
          <ac:picMkLst>
            <pc:docMk/>
            <pc:sldMk cId="63295856" sldId="2147482727"/>
            <ac:picMk id="2066" creationId="{5F134272-49F8-0858-C569-98D6916C684E}"/>
          </ac:picMkLst>
        </pc:picChg>
        <pc:picChg chg="del">
          <ac:chgData name="Camila Valbuena" userId="96dddc91-0310-4901-8518-e86c705ebbd6" providerId="ADAL" clId="{289F64AF-0AA4-47A6-8069-0B1D64FC8B4F}" dt="2024-07-09T00:02:45.212" v="5518" actId="478"/>
          <ac:picMkLst>
            <pc:docMk/>
            <pc:sldMk cId="63295856" sldId="2147482727"/>
            <ac:picMk id="2071" creationId="{4A4A22B5-1D60-78BA-9E77-B3E29578716A}"/>
          </ac:picMkLst>
        </pc:picChg>
        <pc:picChg chg="del">
          <ac:chgData name="Camila Valbuena" userId="96dddc91-0310-4901-8518-e86c705ebbd6" providerId="ADAL" clId="{289F64AF-0AA4-47A6-8069-0B1D64FC8B4F}" dt="2024-07-09T00:02:45.212" v="5518" actId="478"/>
          <ac:picMkLst>
            <pc:docMk/>
            <pc:sldMk cId="63295856" sldId="2147482727"/>
            <ac:picMk id="2072" creationId="{FC4B638C-F457-A2FC-03FD-451BAE8A709B}"/>
          </ac:picMkLst>
        </pc:picChg>
        <pc:picChg chg="del">
          <ac:chgData name="Camila Valbuena" userId="96dddc91-0310-4901-8518-e86c705ebbd6" providerId="ADAL" clId="{289F64AF-0AA4-47A6-8069-0B1D64FC8B4F}" dt="2024-07-09T00:02:45.212" v="5518" actId="478"/>
          <ac:picMkLst>
            <pc:docMk/>
            <pc:sldMk cId="63295856" sldId="2147482727"/>
            <ac:picMk id="2075" creationId="{AA4DF35C-B0E0-3916-C672-866A6A73F991}"/>
          </ac:picMkLst>
        </pc:picChg>
        <pc:picChg chg="del">
          <ac:chgData name="Camila Valbuena" userId="96dddc91-0310-4901-8518-e86c705ebbd6" providerId="ADAL" clId="{289F64AF-0AA4-47A6-8069-0B1D64FC8B4F}" dt="2024-07-09T00:02:45.212" v="5518" actId="478"/>
          <ac:picMkLst>
            <pc:docMk/>
            <pc:sldMk cId="63295856" sldId="2147482727"/>
            <ac:picMk id="2076" creationId="{F12CED7C-8667-2A9A-532A-F7AE2F75D2AF}"/>
          </ac:picMkLst>
        </pc:picChg>
        <pc:picChg chg="del">
          <ac:chgData name="Camila Valbuena" userId="96dddc91-0310-4901-8518-e86c705ebbd6" providerId="ADAL" clId="{289F64AF-0AA4-47A6-8069-0B1D64FC8B4F}" dt="2024-07-09T00:02:45.212" v="5518" actId="478"/>
          <ac:picMkLst>
            <pc:docMk/>
            <pc:sldMk cId="63295856" sldId="2147482727"/>
            <ac:picMk id="2077" creationId="{BA74C271-9F98-430C-2E2D-B9E78BEEC4EF}"/>
          </ac:picMkLst>
        </pc:picChg>
        <pc:picChg chg="del">
          <ac:chgData name="Camila Valbuena" userId="96dddc91-0310-4901-8518-e86c705ebbd6" providerId="ADAL" clId="{289F64AF-0AA4-47A6-8069-0B1D64FC8B4F}" dt="2024-07-09T00:02:45.212" v="5518" actId="478"/>
          <ac:picMkLst>
            <pc:docMk/>
            <pc:sldMk cId="63295856" sldId="2147482727"/>
            <ac:picMk id="2078" creationId="{57B9640A-71E6-4691-5392-385A80BFAC64}"/>
          </ac:picMkLst>
        </pc:picChg>
        <pc:picChg chg="del">
          <ac:chgData name="Camila Valbuena" userId="96dddc91-0310-4901-8518-e86c705ebbd6" providerId="ADAL" clId="{289F64AF-0AA4-47A6-8069-0B1D64FC8B4F}" dt="2024-07-09T00:02:45.212" v="5518" actId="478"/>
          <ac:picMkLst>
            <pc:docMk/>
            <pc:sldMk cId="63295856" sldId="2147482727"/>
            <ac:picMk id="2079" creationId="{4B3AAEF5-5516-ECF9-65AD-9C248796BF4F}"/>
          </ac:picMkLst>
        </pc:picChg>
        <pc:picChg chg="del">
          <ac:chgData name="Camila Valbuena" userId="96dddc91-0310-4901-8518-e86c705ebbd6" providerId="ADAL" clId="{289F64AF-0AA4-47A6-8069-0B1D64FC8B4F}" dt="2024-07-09T00:02:45.212" v="5518" actId="478"/>
          <ac:picMkLst>
            <pc:docMk/>
            <pc:sldMk cId="63295856" sldId="2147482727"/>
            <ac:picMk id="2080" creationId="{189F7EA3-A3F5-4F1F-B9E1-0076B5978E9C}"/>
          </ac:picMkLst>
        </pc:picChg>
        <pc:picChg chg="del">
          <ac:chgData name="Camila Valbuena" userId="96dddc91-0310-4901-8518-e86c705ebbd6" providerId="ADAL" clId="{289F64AF-0AA4-47A6-8069-0B1D64FC8B4F}" dt="2024-07-09T00:02:45.212" v="5518" actId="478"/>
          <ac:picMkLst>
            <pc:docMk/>
            <pc:sldMk cId="63295856" sldId="2147482727"/>
            <ac:picMk id="2081" creationId="{75AC9DFE-06F0-D89F-002A-92897407475D}"/>
          </ac:picMkLst>
        </pc:picChg>
      </pc:sldChg>
      <pc:sldMasterChg chg="del delSldLayout">
        <pc:chgData name="Camila Valbuena" userId="96dddc91-0310-4901-8518-e86c705ebbd6" providerId="ADAL" clId="{289F64AF-0AA4-47A6-8069-0B1D64FC8B4F}" dt="2024-07-08T19:27:10.267" v="0" actId="47"/>
        <pc:sldMasterMkLst>
          <pc:docMk/>
          <pc:sldMasterMk cId="2933118997" sldId="2147483648"/>
        </pc:sldMasterMkLst>
        <pc:sldLayoutChg chg="del">
          <pc:chgData name="Camila Valbuena" userId="96dddc91-0310-4901-8518-e86c705ebbd6" providerId="ADAL" clId="{289F64AF-0AA4-47A6-8069-0B1D64FC8B4F}" dt="2024-07-08T19:27:10.267" v="0" actId="47"/>
          <pc:sldLayoutMkLst>
            <pc:docMk/>
            <pc:sldMasterMk cId="2933118997" sldId="2147483648"/>
            <pc:sldLayoutMk cId="2288191458" sldId="2147483649"/>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3398174421" sldId="2147483650"/>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2339700568" sldId="2147483651"/>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979029867" sldId="2147483652"/>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1752394269" sldId="2147483653"/>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3630658609" sldId="2147483654"/>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3682375612" sldId="2147483655"/>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1360449816" sldId="2147483656"/>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383603595" sldId="2147483657"/>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541863252" sldId="2147483658"/>
          </pc:sldLayoutMkLst>
        </pc:sldLayoutChg>
        <pc:sldLayoutChg chg="del">
          <pc:chgData name="Camila Valbuena" userId="96dddc91-0310-4901-8518-e86c705ebbd6" providerId="ADAL" clId="{289F64AF-0AA4-47A6-8069-0B1D64FC8B4F}" dt="2024-07-08T19:27:10.267" v="0" actId="47"/>
          <pc:sldLayoutMkLst>
            <pc:docMk/>
            <pc:sldMasterMk cId="2933118997" sldId="2147483648"/>
            <pc:sldLayoutMk cId="2215096201" sldId="2147483659"/>
          </pc:sldLayoutMkLst>
        </pc:sldLayoutChg>
      </pc:sldMasterChg>
      <pc:sldMasterChg chg="delSldLayout">
        <pc:chgData name="Camila Valbuena" userId="96dddc91-0310-4901-8518-e86c705ebbd6" providerId="ADAL" clId="{289F64AF-0AA4-47A6-8069-0B1D64FC8B4F}" dt="2024-07-08T21:03:34.020" v="2150" actId="47"/>
        <pc:sldMasterMkLst>
          <pc:docMk/>
          <pc:sldMasterMk cId="758218729" sldId="2147483709"/>
        </pc:sldMasterMkLst>
        <pc:sldLayoutChg chg="del">
          <pc:chgData name="Camila Valbuena" userId="96dddc91-0310-4901-8518-e86c705ebbd6" providerId="ADAL" clId="{289F64AF-0AA4-47A6-8069-0B1D64FC8B4F}" dt="2024-07-08T21:03:34.020" v="2150" actId="47"/>
          <pc:sldLayoutMkLst>
            <pc:docMk/>
            <pc:sldMasterMk cId="758218729" sldId="2147483709"/>
            <pc:sldLayoutMk cId="1839290304" sldId="2147483731"/>
          </pc:sldLayoutMkLst>
        </pc:sldLayoutChg>
      </pc:sldMasterChg>
      <pc:sldMasterChg chg="delSldLayout">
        <pc:chgData name="Camila Valbuena" userId="96dddc91-0310-4901-8518-e86c705ebbd6" providerId="ADAL" clId="{289F64AF-0AA4-47A6-8069-0B1D64FC8B4F}" dt="2024-07-08T21:37:03.878" v="2531" actId="47"/>
        <pc:sldMasterMkLst>
          <pc:docMk/>
          <pc:sldMasterMk cId="2011862535" sldId="2147483736"/>
        </pc:sldMasterMkLst>
        <pc:sldLayoutChg chg="del">
          <pc:chgData name="Camila Valbuena" userId="96dddc91-0310-4901-8518-e86c705ebbd6" providerId="ADAL" clId="{289F64AF-0AA4-47A6-8069-0B1D64FC8B4F}" dt="2024-07-08T21:03:30.948" v="2149" actId="47"/>
          <pc:sldLayoutMkLst>
            <pc:docMk/>
            <pc:sldMasterMk cId="2011862535" sldId="2147483736"/>
            <pc:sldLayoutMk cId="4182927493" sldId="2147483758"/>
          </pc:sldLayoutMkLst>
        </pc:sldLayoutChg>
        <pc:sldLayoutChg chg="del">
          <pc:chgData name="Camila Valbuena" userId="96dddc91-0310-4901-8518-e86c705ebbd6" providerId="ADAL" clId="{289F64AF-0AA4-47A6-8069-0B1D64FC8B4F}" dt="2024-07-08T21:37:03.878" v="2531" actId="47"/>
          <pc:sldLayoutMkLst>
            <pc:docMk/>
            <pc:sldMasterMk cId="2011862535" sldId="2147483736"/>
            <pc:sldLayoutMk cId="2303887814" sldId="2147483773"/>
          </pc:sldLayoutMkLst>
        </pc:sldLayoutChg>
      </pc:sldMasterChg>
      <pc:sldMasterChg chg="del delSldLayout">
        <pc:chgData name="Camila Valbuena" userId="96dddc91-0310-4901-8518-e86c705ebbd6" providerId="ADAL" clId="{289F64AF-0AA4-47A6-8069-0B1D64FC8B4F}" dt="2024-07-08T22:47:44.820" v="3650" actId="47"/>
        <pc:sldMasterMkLst>
          <pc:docMk/>
          <pc:sldMasterMk cId="661759639" sldId="2147483766"/>
        </pc:sldMasterMkLst>
        <pc:sldLayoutChg chg="del">
          <pc:chgData name="Camila Valbuena" userId="96dddc91-0310-4901-8518-e86c705ebbd6" providerId="ADAL" clId="{289F64AF-0AA4-47A6-8069-0B1D64FC8B4F}" dt="2024-07-08T22:47:44.820" v="3650" actId="47"/>
          <pc:sldLayoutMkLst>
            <pc:docMk/>
            <pc:sldMasterMk cId="661759639" sldId="2147483766"/>
            <pc:sldLayoutMk cId="616475558" sldId="2147483767"/>
          </pc:sldLayoutMkLst>
        </pc:sldLayoutChg>
        <pc:sldLayoutChg chg="del">
          <pc:chgData name="Camila Valbuena" userId="96dddc91-0310-4901-8518-e86c705ebbd6" providerId="ADAL" clId="{289F64AF-0AA4-47A6-8069-0B1D64FC8B4F}" dt="2024-07-08T22:47:44.820" v="3650" actId="47"/>
          <pc:sldLayoutMkLst>
            <pc:docMk/>
            <pc:sldMasterMk cId="661759639" sldId="2147483766"/>
            <pc:sldLayoutMk cId="2721000058" sldId="2147483768"/>
          </pc:sldLayoutMkLst>
        </pc:sldLayoutChg>
        <pc:sldLayoutChg chg="del">
          <pc:chgData name="Camila Valbuena" userId="96dddc91-0310-4901-8518-e86c705ebbd6" providerId="ADAL" clId="{289F64AF-0AA4-47A6-8069-0B1D64FC8B4F}" dt="2024-07-08T22:47:44.820" v="3650" actId="47"/>
          <pc:sldLayoutMkLst>
            <pc:docMk/>
            <pc:sldMasterMk cId="661759639" sldId="2147483766"/>
            <pc:sldLayoutMk cId="246691369" sldId="2147483769"/>
          </pc:sldLayoutMkLst>
        </pc:sldLayoutChg>
        <pc:sldLayoutChg chg="del">
          <pc:chgData name="Camila Valbuena" userId="96dddc91-0310-4901-8518-e86c705ebbd6" providerId="ADAL" clId="{289F64AF-0AA4-47A6-8069-0B1D64FC8B4F}" dt="2024-07-08T22:47:44.820" v="3650" actId="47"/>
          <pc:sldLayoutMkLst>
            <pc:docMk/>
            <pc:sldMasterMk cId="661759639" sldId="2147483766"/>
            <pc:sldLayoutMk cId="2556574629" sldId="2147483770"/>
          </pc:sldLayoutMkLst>
        </pc:sldLayoutChg>
        <pc:sldLayoutChg chg="del">
          <pc:chgData name="Camila Valbuena" userId="96dddc91-0310-4901-8518-e86c705ebbd6" providerId="ADAL" clId="{289F64AF-0AA4-47A6-8069-0B1D64FC8B4F}" dt="2024-07-08T22:47:44.820" v="3650" actId="47"/>
          <pc:sldLayoutMkLst>
            <pc:docMk/>
            <pc:sldMasterMk cId="661759639" sldId="2147483766"/>
            <pc:sldLayoutMk cId="57664447" sldId="2147483771"/>
          </pc:sldLayoutMkLst>
        </pc:sldLayoutChg>
        <pc:sldLayoutChg chg="del">
          <pc:chgData name="Camila Valbuena" userId="96dddc91-0310-4901-8518-e86c705ebbd6" providerId="ADAL" clId="{289F64AF-0AA4-47A6-8069-0B1D64FC8B4F}" dt="2024-07-08T22:47:44.820" v="3650" actId="47"/>
          <pc:sldLayoutMkLst>
            <pc:docMk/>
            <pc:sldMasterMk cId="661759639" sldId="2147483766"/>
            <pc:sldLayoutMk cId="1740301595" sldId="2147483772"/>
          </pc:sldLayoutMkLst>
        </pc:sldLayoutChg>
      </pc:sldMasterChg>
      <pc:sldMasterChg chg="delSldLayout">
        <pc:chgData name="Camila Valbuena" userId="96dddc91-0310-4901-8518-e86c705ebbd6" providerId="ADAL" clId="{289F64AF-0AA4-47A6-8069-0B1D64FC8B4F}" dt="2024-07-08T22:47:41.373" v="3649" actId="47"/>
        <pc:sldMasterMkLst>
          <pc:docMk/>
          <pc:sldMasterMk cId="1265566180" sldId="2147483842"/>
        </pc:sldMasterMkLst>
        <pc:sldLayoutChg chg="del">
          <pc:chgData name="Camila Valbuena" userId="96dddc91-0310-4901-8518-e86c705ebbd6" providerId="ADAL" clId="{289F64AF-0AA4-47A6-8069-0B1D64FC8B4F}" dt="2024-07-08T22:47:41.373" v="3649" actId="47"/>
          <pc:sldLayoutMkLst>
            <pc:docMk/>
            <pc:sldMasterMk cId="1265566180" sldId="2147483842"/>
            <pc:sldLayoutMk cId="2280728711" sldId="2147483844"/>
          </pc:sldLayoutMkLst>
        </pc:sldLayoutChg>
      </pc:sldMasterChg>
      <pc:sldMasterChg chg="delSldLayout">
        <pc:chgData name="Camila Valbuena" userId="96dddc91-0310-4901-8518-e86c705ebbd6" providerId="ADAL" clId="{289F64AF-0AA4-47A6-8069-0B1D64FC8B4F}" dt="2024-07-08T22:48:53.859" v="3651" actId="47"/>
        <pc:sldMasterMkLst>
          <pc:docMk/>
          <pc:sldMasterMk cId="4196404289" sldId="2147483866"/>
        </pc:sldMasterMkLst>
        <pc:sldLayoutChg chg="del">
          <pc:chgData name="Camila Valbuena" userId="96dddc91-0310-4901-8518-e86c705ebbd6" providerId="ADAL" clId="{289F64AF-0AA4-47A6-8069-0B1D64FC8B4F}" dt="2024-07-08T22:48:53.859" v="3651" actId="47"/>
          <pc:sldLayoutMkLst>
            <pc:docMk/>
            <pc:sldMasterMk cId="4196404289" sldId="2147483866"/>
            <pc:sldLayoutMk cId="1886440080" sldId="2147483868"/>
          </pc:sldLayoutMkLst>
        </pc:sldLayoutChg>
      </pc:sldMasterChg>
      <pc:sldMasterChg chg="delSldLayout">
        <pc:chgData name="Camila Valbuena" userId="96dddc91-0310-4901-8518-e86c705ebbd6" providerId="ADAL" clId="{289F64AF-0AA4-47A6-8069-0B1D64FC8B4F}" dt="2024-07-08T23:16:38.154" v="4754" actId="47"/>
        <pc:sldMasterMkLst>
          <pc:docMk/>
          <pc:sldMasterMk cId="3224589169" sldId="2147483890"/>
        </pc:sldMasterMkLst>
        <pc:sldLayoutChg chg="del">
          <pc:chgData name="Camila Valbuena" userId="96dddc91-0310-4901-8518-e86c705ebbd6" providerId="ADAL" clId="{289F64AF-0AA4-47A6-8069-0B1D64FC8B4F}" dt="2024-07-08T23:16:38.154" v="4754" actId="47"/>
          <pc:sldLayoutMkLst>
            <pc:docMk/>
            <pc:sldMasterMk cId="3224589169" sldId="2147483890"/>
            <pc:sldLayoutMk cId="2866673468" sldId="2147483902"/>
          </pc:sldLayoutMkLst>
        </pc:sldLayoutChg>
      </pc:sldMasterChg>
      <pc:sldMasterChg chg="del delSldLayout">
        <pc:chgData name="Camila Valbuena" userId="96dddc91-0310-4901-8518-e86c705ebbd6" providerId="ADAL" clId="{289F64AF-0AA4-47A6-8069-0B1D64FC8B4F}" dt="2024-07-09T00:04:39.773" v="5594" actId="47"/>
        <pc:sldMasterMkLst>
          <pc:docMk/>
          <pc:sldMasterMk cId="720418353" sldId="2147483977"/>
        </pc:sldMasterMkLst>
        <pc:sldLayoutChg chg="del">
          <pc:chgData name="Camila Valbuena" userId="96dddc91-0310-4901-8518-e86c705ebbd6" providerId="ADAL" clId="{289F64AF-0AA4-47A6-8069-0B1D64FC8B4F}" dt="2024-07-09T00:04:39.773" v="5594" actId="47"/>
          <pc:sldLayoutMkLst>
            <pc:docMk/>
            <pc:sldMasterMk cId="720418353" sldId="2147483977"/>
            <pc:sldLayoutMk cId="865994768" sldId="2147483978"/>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1544543396" sldId="2147483979"/>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847471434" sldId="2147483980"/>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739827920" sldId="2147483981"/>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467946261" sldId="2147483982"/>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2743107861" sldId="2147483983"/>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2397066278" sldId="2147483984"/>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67008888" sldId="2147483985"/>
          </pc:sldLayoutMkLst>
        </pc:sldLayoutChg>
        <pc:sldLayoutChg chg="del">
          <pc:chgData name="Camila Valbuena" userId="96dddc91-0310-4901-8518-e86c705ebbd6" providerId="ADAL" clId="{289F64AF-0AA4-47A6-8069-0B1D64FC8B4F}" dt="2024-07-09T00:04:39.773" v="5594" actId="47"/>
          <pc:sldLayoutMkLst>
            <pc:docMk/>
            <pc:sldMasterMk cId="720418353" sldId="2147483977"/>
            <pc:sldLayoutMk cId="2645868465" sldId="2147483986"/>
          </pc:sldLayoutMkLst>
        </pc:sldLayoutChg>
      </pc:sldMasterChg>
    </pc:docChg>
  </pc:docChgLst>
  <pc:docChgLst>
    <pc:chgData name="Andres Satizabal" userId="dd95d34c-96ea-48c0-9463-47f87a3366af" providerId="ADAL" clId="{61125DC2-6BC9-4440-BD9B-65C1B22438C3}"/>
    <pc:docChg chg="undo custSel addSld delSld modSld sldOrd delMainMaster">
      <pc:chgData name="Andres Satizabal" userId="dd95d34c-96ea-48c0-9463-47f87a3366af" providerId="ADAL" clId="{61125DC2-6BC9-4440-BD9B-65C1B22438C3}" dt="2024-07-10T16:12:57.758" v="3059" actId="47"/>
      <pc:docMkLst>
        <pc:docMk/>
      </pc:docMkLst>
      <pc:sldChg chg="modSp mod">
        <pc:chgData name="Andres Satizabal" userId="dd95d34c-96ea-48c0-9463-47f87a3366af" providerId="ADAL" clId="{61125DC2-6BC9-4440-BD9B-65C1B22438C3}" dt="2024-07-10T15:35:15.888" v="1"/>
        <pc:sldMkLst>
          <pc:docMk/>
          <pc:sldMk cId="1702435450" sldId="257"/>
        </pc:sldMkLst>
        <pc:spChg chg="mod">
          <ac:chgData name="Andres Satizabal" userId="dd95d34c-96ea-48c0-9463-47f87a3366af" providerId="ADAL" clId="{61125DC2-6BC9-4440-BD9B-65C1B22438C3}" dt="2024-07-10T15:34:40.640" v="0" actId="255"/>
          <ac:spMkLst>
            <pc:docMk/>
            <pc:sldMk cId="1702435450" sldId="257"/>
            <ac:spMk id="8" creationId="{6ACF5B25-6349-C5F4-C3E8-6D19EA278FA9}"/>
          </ac:spMkLst>
        </pc:spChg>
        <pc:picChg chg="mod">
          <ac:chgData name="Andres Satizabal" userId="dd95d34c-96ea-48c0-9463-47f87a3366af" providerId="ADAL" clId="{61125DC2-6BC9-4440-BD9B-65C1B22438C3}" dt="2024-07-10T15:35:15.888" v="1"/>
          <ac:picMkLst>
            <pc:docMk/>
            <pc:sldMk cId="1702435450" sldId="257"/>
            <ac:picMk id="7" creationId="{5631AA62-8E19-A2B7-3F95-073E00E7D268}"/>
          </ac:picMkLst>
        </pc:picChg>
      </pc:sldChg>
      <pc:sldChg chg="modSp mod">
        <pc:chgData name="Andres Satizabal" userId="dd95d34c-96ea-48c0-9463-47f87a3366af" providerId="ADAL" clId="{61125DC2-6BC9-4440-BD9B-65C1B22438C3}" dt="2024-07-10T15:46:20.721" v="872" actId="1036"/>
        <pc:sldMkLst>
          <pc:docMk/>
          <pc:sldMk cId="0" sldId="283"/>
        </pc:sldMkLst>
        <pc:spChg chg="mod">
          <ac:chgData name="Andres Satizabal" userId="dd95d34c-96ea-48c0-9463-47f87a3366af" providerId="ADAL" clId="{61125DC2-6BC9-4440-BD9B-65C1B22438C3}" dt="2024-07-10T15:46:20.721" v="872" actId="1036"/>
          <ac:spMkLst>
            <pc:docMk/>
            <pc:sldMk cId="0" sldId="283"/>
            <ac:spMk id="13" creationId="{00000000-0000-0000-0000-000000000000}"/>
          </ac:spMkLst>
        </pc:spChg>
        <pc:spChg chg="mod">
          <ac:chgData name="Andres Satizabal" userId="dd95d34c-96ea-48c0-9463-47f87a3366af" providerId="ADAL" clId="{61125DC2-6BC9-4440-BD9B-65C1B22438C3}" dt="2024-07-10T15:45:55.238" v="835" actId="20577"/>
          <ac:spMkLst>
            <pc:docMk/>
            <pc:sldMk cId="0" sldId="283"/>
            <ac:spMk id="14" creationId="{00000000-0000-0000-0000-000000000000}"/>
          </ac:spMkLst>
        </pc:spChg>
        <pc:spChg chg="mod">
          <ac:chgData name="Andres Satizabal" userId="dd95d34c-96ea-48c0-9463-47f87a3366af" providerId="ADAL" clId="{61125DC2-6BC9-4440-BD9B-65C1B22438C3}" dt="2024-07-10T15:45:59.479" v="849" actId="1036"/>
          <ac:spMkLst>
            <pc:docMk/>
            <pc:sldMk cId="0" sldId="283"/>
            <ac:spMk id="15" creationId="{00000000-0000-0000-0000-000000000000}"/>
          </ac:spMkLst>
        </pc:spChg>
        <pc:spChg chg="mod">
          <ac:chgData name="Andres Satizabal" userId="dd95d34c-96ea-48c0-9463-47f87a3366af" providerId="ADAL" clId="{61125DC2-6BC9-4440-BD9B-65C1B22438C3}" dt="2024-07-10T15:45:59.479" v="849" actId="1036"/>
          <ac:spMkLst>
            <pc:docMk/>
            <pc:sldMk cId="0" sldId="283"/>
            <ac:spMk id="16" creationId="{00000000-0000-0000-0000-000000000000}"/>
          </ac:spMkLst>
        </pc:spChg>
        <pc:spChg chg="mod">
          <ac:chgData name="Andres Satizabal" userId="dd95d34c-96ea-48c0-9463-47f87a3366af" providerId="ADAL" clId="{61125DC2-6BC9-4440-BD9B-65C1B22438C3}" dt="2024-07-10T15:45:59.479" v="849" actId="1036"/>
          <ac:spMkLst>
            <pc:docMk/>
            <pc:sldMk cId="0" sldId="283"/>
            <ac:spMk id="20" creationId="{00000000-0000-0000-0000-000000000000}"/>
          </ac:spMkLst>
        </pc:spChg>
        <pc:spChg chg="mod">
          <ac:chgData name="Andres Satizabal" userId="dd95d34c-96ea-48c0-9463-47f87a3366af" providerId="ADAL" clId="{61125DC2-6BC9-4440-BD9B-65C1B22438C3}" dt="2024-07-10T15:45:59.479" v="849" actId="1036"/>
          <ac:spMkLst>
            <pc:docMk/>
            <pc:sldMk cId="0" sldId="283"/>
            <ac:spMk id="21" creationId="{00000000-0000-0000-0000-000000000000}"/>
          </ac:spMkLst>
        </pc:spChg>
      </pc:sldChg>
      <pc:sldChg chg="addSp delSp modSp add mod ord">
        <pc:chgData name="Andres Satizabal" userId="dd95d34c-96ea-48c0-9463-47f87a3366af" providerId="ADAL" clId="{61125DC2-6BC9-4440-BD9B-65C1B22438C3}" dt="2024-07-10T16:00:10.861" v="2325" actId="20577"/>
        <pc:sldMkLst>
          <pc:docMk/>
          <pc:sldMk cId="3351937965" sldId="4190"/>
        </pc:sldMkLst>
        <pc:spChg chg="mod">
          <ac:chgData name="Andres Satizabal" userId="dd95d34c-96ea-48c0-9463-47f87a3366af" providerId="ADAL" clId="{61125DC2-6BC9-4440-BD9B-65C1B22438C3}" dt="2024-07-10T16:00:10.861" v="2325" actId="20577"/>
          <ac:spMkLst>
            <pc:docMk/>
            <pc:sldMk cId="3351937965" sldId="4190"/>
            <ac:spMk id="2" creationId="{821FD729-4139-B778-2585-C2F7A6B78D54}"/>
          </ac:spMkLst>
        </pc:spChg>
        <pc:spChg chg="mod topLvl">
          <ac:chgData name="Andres Satizabal" userId="dd95d34c-96ea-48c0-9463-47f87a3366af" providerId="ADAL" clId="{61125DC2-6BC9-4440-BD9B-65C1B22438C3}" dt="2024-07-10T15:59:27.687" v="2191" actId="20577"/>
          <ac:spMkLst>
            <pc:docMk/>
            <pc:sldMk cId="3351937965" sldId="4190"/>
            <ac:spMk id="7" creationId="{D1161E8A-DA21-758B-A69A-80110BBD2EE3}"/>
          </ac:spMkLst>
        </pc:spChg>
        <pc:grpChg chg="del mod">
          <ac:chgData name="Andres Satizabal" userId="dd95d34c-96ea-48c0-9463-47f87a3366af" providerId="ADAL" clId="{61125DC2-6BC9-4440-BD9B-65C1B22438C3}" dt="2024-07-10T15:59:09.572" v="2175" actId="165"/>
          <ac:grpSpMkLst>
            <pc:docMk/>
            <pc:sldMk cId="3351937965" sldId="4190"/>
            <ac:grpSpMk id="6" creationId="{E519E896-611E-F01C-0568-2E19CE99969A}"/>
          </ac:grpSpMkLst>
        </pc:grpChg>
        <pc:grpChg chg="add mod">
          <ac:chgData name="Andres Satizabal" userId="dd95d34c-96ea-48c0-9463-47f87a3366af" providerId="ADAL" clId="{61125DC2-6BC9-4440-BD9B-65C1B22438C3}" dt="2024-07-10T15:59:22.817" v="2177" actId="14100"/>
          <ac:grpSpMkLst>
            <pc:docMk/>
            <pc:sldMk cId="3351937965" sldId="4190"/>
            <ac:grpSpMk id="13" creationId="{1A9B2C22-4C6A-83AD-6412-BF469D3C266E}"/>
          </ac:grpSpMkLst>
        </pc:grpChg>
        <pc:picChg chg="add mod">
          <ac:chgData name="Andres Satizabal" userId="dd95d34c-96ea-48c0-9463-47f87a3366af" providerId="ADAL" clId="{61125DC2-6BC9-4440-BD9B-65C1B22438C3}" dt="2024-07-10T15:58:22.298" v="2122"/>
          <ac:picMkLst>
            <pc:docMk/>
            <pc:sldMk cId="3351937965" sldId="4190"/>
            <ac:picMk id="12" creationId="{88526BC6-3ACA-766B-76BD-E69C72F30A7C}"/>
          </ac:picMkLst>
        </pc:picChg>
        <pc:cxnChg chg="mod topLvl">
          <ac:chgData name="Andres Satizabal" userId="dd95d34c-96ea-48c0-9463-47f87a3366af" providerId="ADAL" clId="{61125DC2-6BC9-4440-BD9B-65C1B22438C3}" dt="2024-07-10T15:59:14.356" v="2176" actId="164"/>
          <ac:cxnSpMkLst>
            <pc:docMk/>
            <pc:sldMk cId="3351937965" sldId="4190"/>
            <ac:cxnSpMk id="8" creationId="{2DB8E1E6-B6E0-5B2F-ED1C-B57F9C742874}"/>
          </ac:cxnSpMkLst>
        </pc:cxnChg>
        <pc:cxnChg chg="mod topLvl">
          <ac:chgData name="Andres Satizabal" userId="dd95d34c-96ea-48c0-9463-47f87a3366af" providerId="ADAL" clId="{61125DC2-6BC9-4440-BD9B-65C1B22438C3}" dt="2024-07-10T15:59:14.356" v="2176" actId="164"/>
          <ac:cxnSpMkLst>
            <pc:docMk/>
            <pc:sldMk cId="3351937965" sldId="4190"/>
            <ac:cxnSpMk id="9" creationId="{4CEDDC90-68B4-979A-53E8-89C1809FCEF1}"/>
          </ac:cxnSpMkLst>
        </pc:cxnChg>
      </pc:sldChg>
      <pc:sldChg chg="addSp modSp add del">
        <pc:chgData name="Andres Satizabal" userId="dd95d34c-96ea-48c0-9463-47f87a3366af" providerId="ADAL" clId="{61125DC2-6BC9-4440-BD9B-65C1B22438C3}" dt="2024-07-10T16:05:57.926" v="2495" actId="47"/>
        <pc:sldMkLst>
          <pc:docMk/>
          <pc:sldMk cId="2742885054" sldId="5370"/>
        </pc:sldMkLst>
        <pc:picChg chg="add mod">
          <ac:chgData name="Andres Satizabal" userId="dd95d34c-96ea-48c0-9463-47f87a3366af" providerId="ADAL" clId="{61125DC2-6BC9-4440-BD9B-65C1B22438C3}" dt="2024-07-10T16:03:35.811" v="2428" actId="1036"/>
          <ac:picMkLst>
            <pc:docMk/>
            <pc:sldMk cId="2742885054" sldId="5370"/>
            <ac:picMk id="3" creationId="{89D592B9-6C40-8BA3-500B-E62B208578A7}"/>
          </ac:picMkLst>
        </pc:picChg>
      </pc:sldChg>
      <pc:sldChg chg="modSp del">
        <pc:chgData name="Andres Satizabal" userId="dd95d34c-96ea-48c0-9463-47f87a3366af" providerId="ADAL" clId="{61125DC2-6BC9-4440-BD9B-65C1B22438C3}" dt="2024-07-10T16:05:49.177" v="2493" actId="47"/>
        <pc:sldMkLst>
          <pc:docMk/>
          <pc:sldMk cId="313072743" sldId="5454"/>
        </pc:sldMkLst>
        <pc:spChg chg="mod">
          <ac:chgData name="Andres Satizabal" userId="dd95d34c-96ea-48c0-9463-47f87a3366af" providerId="ADAL" clId="{61125DC2-6BC9-4440-BD9B-65C1B22438C3}" dt="2024-07-10T16:04:53.608" v="2481"/>
          <ac:spMkLst>
            <pc:docMk/>
            <pc:sldMk cId="313072743" sldId="5454"/>
            <ac:spMk id="2" creationId="{9B868BDF-2C96-5A4F-81E7-5C3CCC24BC73}"/>
          </ac:spMkLst>
        </pc:spChg>
        <pc:spChg chg="mod">
          <ac:chgData name="Andres Satizabal" userId="dd95d34c-96ea-48c0-9463-47f87a3366af" providerId="ADAL" clId="{61125DC2-6BC9-4440-BD9B-65C1B22438C3}" dt="2024-07-10T16:04:53.608" v="2481"/>
          <ac:spMkLst>
            <pc:docMk/>
            <pc:sldMk cId="313072743" sldId="5454"/>
            <ac:spMk id="38" creationId="{E17FB68E-8125-A187-0478-C280CBB28A5A}"/>
          </ac:spMkLst>
        </pc:spChg>
      </pc:sldChg>
      <pc:sldChg chg="del">
        <pc:chgData name="Andres Satizabal" userId="dd95d34c-96ea-48c0-9463-47f87a3366af" providerId="ADAL" clId="{61125DC2-6BC9-4440-BD9B-65C1B22438C3}" dt="2024-07-10T16:12:57.758" v="3059" actId="47"/>
        <pc:sldMkLst>
          <pc:docMk/>
          <pc:sldMk cId="3706369206" sldId="2147471372"/>
        </pc:sldMkLst>
      </pc:sldChg>
      <pc:sldChg chg="addSp delSp modSp mod">
        <pc:chgData name="Andres Satizabal" userId="dd95d34c-96ea-48c0-9463-47f87a3366af" providerId="ADAL" clId="{61125DC2-6BC9-4440-BD9B-65C1B22438C3}" dt="2024-07-10T16:08:45.785" v="2680" actId="20577"/>
        <pc:sldMkLst>
          <pc:docMk/>
          <pc:sldMk cId="38418512" sldId="2147475225"/>
        </pc:sldMkLst>
        <pc:spChg chg="add mod">
          <ac:chgData name="Andres Satizabal" userId="dd95d34c-96ea-48c0-9463-47f87a3366af" providerId="ADAL" clId="{61125DC2-6BC9-4440-BD9B-65C1B22438C3}" dt="2024-07-10T16:08:45.785" v="2680" actId="20577"/>
          <ac:spMkLst>
            <pc:docMk/>
            <pc:sldMk cId="38418512" sldId="2147475225"/>
            <ac:spMk id="3" creationId="{BD9BFAAA-E206-D766-44A2-92EA9EF2D1F7}"/>
          </ac:spMkLst>
        </pc:spChg>
        <pc:spChg chg="mod">
          <ac:chgData name="Andres Satizabal" userId="dd95d34c-96ea-48c0-9463-47f87a3366af" providerId="ADAL" clId="{61125DC2-6BC9-4440-BD9B-65C1B22438C3}" dt="2024-07-10T16:08:35.238" v="2674" actId="20577"/>
          <ac:spMkLst>
            <pc:docMk/>
            <pc:sldMk cId="38418512" sldId="2147475225"/>
            <ac:spMk id="12" creationId="{F0AE4DC1-3BF2-6979-2952-E021BB352DA3}"/>
          </ac:spMkLst>
        </pc:spChg>
        <pc:spChg chg="mod">
          <ac:chgData name="Andres Satizabal" userId="dd95d34c-96ea-48c0-9463-47f87a3366af" providerId="ADAL" clId="{61125DC2-6BC9-4440-BD9B-65C1B22438C3}" dt="2024-07-10T16:07:47.237" v="2602" actId="20577"/>
          <ac:spMkLst>
            <pc:docMk/>
            <pc:sldMk cId="38418512" sldId="2147475225"/>
            <ac:spMk id="16" creationId="{F7F0E1E4-1582-349D-A6CE-8BBA7939169E}"/>
          </ac:spMkLst>
        </pc:spChg>
        <pc:spChg chg="mod">
          <ac:chgData name="Andres Satizabal" userId="dd95d34c-96ea-48c0-9463-47f87a3366af" providerId="ADAL" clId="{61125DC2-6BC9-4440-BD9B-65C1B22438C3}" dt="2024-07-10T16:08:01.969" v="2654" actId="20577"/>
          <ac:spMkLst>
            <pc:docMk/>
            <pc:sldMk cId="38418512" sldId="2147475225"/>
            <ac:spMk id="32" creationId="{0C201B35-BE25-74E4-9F5D-693AA05744F7}"/>
          </ac:spMkLst>
        </pc:spChg>
        <pc:spChg chg="del">
          <ac:chgData name="Andres Satizabal" userId="dd95d34c-96ea-48c0-9463-47f87a3366af" providerId="ADAL" clId="{61125DC2-6BC9-4440-BD9B-65C1B22438C3}" dt="2024-07-10T16:07:38.421" v="2566" actId="478"/>
          <ac:spMkLst>
            <pc:docMk/>
            <pc:sldMk cId="38418512" sldId="2147475225"/>
            <ac:spMk id="33" creationId="{EA7D0FA2-F3C9-C6F7-A1F5-E798950A5358}"/>
          </ac:spMkLst>
        </pc:spChg>
        <pc:spChg chg="del mod">
          <ac:chgData name="Andres Satizabal" userId="dd95d34c-96ea-48c0-9463-47f87a3366af" providerId="ADAL" clId="{61125DC2-6BC9-4440-BD9B-65C1B22438C3}" dt="2024-07-10T16:08:37.837" v="2675" actId="478"/>
          <ac:spMkLst>
            <pc:docMk/>
            <pc:sldMk cId="38418512" sldId="2147475225"/>
            <ac:spMk id="37" creationId="{B2C6E35B-0EB4-DD9A-E5C1-E4D9874154C4}"/>
          </ac:spMkLst>
        </pc:spChg>
      </pc:sldChg>
      <pc:sldChg chg="modSp mod">
        <pc:chgData name="Andres Satizabal" userId="dd95d34c-96ea-48c0-9463-47f87a3366af" providerId="ADAL" clId="{61125DC2-6BC9-4440-BD9B-65C1B22438C3}" dt="2024-07-10T16:12:48.557" v="3058" actId="20577"/>
        <pc:sldMkLst>
          <pc:docMk/>
          <pc:sldMk cId="1946829610" sldId="2147475226"/>
        </pc:sldMkLst>
        <pc:spChg chg="mod">
          <ac:chgData name="Andres Satizabal" userId="dd95d34c-96ea-48c0-9463-47f87a3366af" providerId="ADAL" clId="{61125DC2-6BC9-4440-BD9B-65C1B22438C3}" dt="2024-07-10T16:12:48.557" v="3058" actId="20577"/>
          <ac:spMkLst>
            <pc:docMk/>
            <pc:sldMk cId="1946829610" sldId="2147475226"/>
            <ac:spMk id="12" creationId="{96142738-2233-6F2F-FC58-B8AD9B3E2893}"/>
          </ac:spMkLst>
        </pc:spChg>
        <pc:spChg chg="mod">
          <ac:chgData name="Andres Satizabal" userId="dd95d34c-96ea-48c0-9463-47f87a3366af" providerId="ADAL" clId="{61125DC2-6BC9-4440-BD9B-65C1B22438C3}" dt="2024-07-10T16:11:59.792" v="2939" actId="20577"/>
          <ac:spMkLst>
            <pc:docMk/>
            <pc:sldMk cId="1946829610" sldId="2147475226"/>
            <ac:spMk id="24" creationId="{751161CB-D518-BECC-B8D4-D306FED05B22}"/>
          </ac:spMkLst>
        </pc:spChg>
        <pc:spChg chg="mod">
          <ac:chgData name="Andres Satizabal" userId="dd95d34c-96ea-48c0-9463-47f87a3366af" providerId="ADAL" clId="{61125DC2-6BC9-4440-BD9B-65C1B22438C3}" dt="2024-07-10T16:12:32.812" v="3026" actId="20577"/>
          <ac:spMkLst>
            <pc:docMk/>
            <pc:sldMk cId="1946829610" sldId="2147475226"/>
            <ac:spMk id="39" creationId="{27580519-0720-A62D-1356-89E515997427}"/>
          </ac:spMkLst>
        </pc:spChg>
        <pc:spChg chg="mod">
          <ac:chgData name="Andres Satizabal" userId="dd95d34c-96ea-48c0-9463-47f87a3366af" providerId="ADAL" clId="{61125DC2-6BC9-4440-BD9B-65C1B22438C3}" dt="2024-07-10T16:12:06.180" v="2940" actId="552"/>
          <ac:spMkLst>
            <pc:docMk/>
            <pc:sldMk cId="1946829610" sldId="2147475226"/>
            <ac:spMk id="41" creationId="{57B6D087-EC57-9F4D-1405-734A7A8B067E}"/>
          </ac:spMkLst>
        </pc:spChg>
      </pc:sldChg>
      <pc:sldChg chg="modSp mod">
        <pc:chgData name="Andres Satizabal" userId="dd95d34c-96ea-48c0-9463-47f87a3366af" providerId="ADAL" clId="{61125DC2-6BC9-4440-BD9B-65C1B22438C3}" dt="2024-07-10T15:54:25.193" v="2093" actId="20577"/>
        <pc:sldMkLst>
          <pc:docMk/>
          <pc:sldMk cId="463178832" sldId="2147475287"/>
        </pc:sldMkLst>
        <pc:spChg chg="mod">
          <ac:chgData name="Andres Satizabal" userId="dd95d34c-96ea-48c0-9463-47f87a3366af" providerId="ADAL" clId="{61125DC2-6BC9-4440-BD9B-65C1B22438C3}" dt="2024-07-10T15:54:25.193" v="2093" actId="20577"/>
          <ac:spMkLst>
            <pc:docMk/>
            <pc:sldMk cId="463178832" sldId="2147475287"/>
            <ac:spMk id="208" creationId="{DA81DA77-AF07-3822-A60C-F2F45DDD23F6}"/>
          </ac:spMkLst>
        </pc:spChg>
      </pc:sldChg>
      <pc:sldChg chg="modSp mod">
        <pc:chgData name="Andres Satizabal" userId="dd95d34c-96ea-48c0-9463-47f87a3366af" providerId="ADAL" clId="{61125DC2-6BC9-4440-BD9B-65C1B22438C3}" dt="2024-07-10T15:51:36.020" v="1711" actId="20577"/>
        <pc:sldMkLst>
          <pc:docMk/>
          <pc:sldMk cId="4138946172" sldId="2147475320"/>
        </pc:sldMkLst>
        <pc:spChg chg="mod">
          <ac:chgData name="Andres Satizabal" userId="dd95d34c-96ea-48c0-9463-47f87a3366af" providerId="ADAL" clId="{61125DC2-6BC9-4440-BD9B-65C1B22438C3}" dt="2024-07-10T15:50:25.013" v="1558" actId="1035"/>
          <ac:spMkLst>
            <pc:docMk/>
            <pc:sldMk cId="4138946172" sldId="2147475320"/>
            <ac:spMk id="2" creationId="{B5BF7F63-9151-B742-F5F2-53AEA5AB27EB}"/>
          </ac:spMkLst>
        </pc:spChg>
        <pc:spChg chg="mod">
          <ac:chgData name="Andres Satizabal" userId="dd95d34c-96ea-48c0-9463-47f87a3366af" providerId="ADAL" clId="{61125DC2-6BC9-4440-BD9B-65C1B22438C3}" dt="2024-07-10T15:50:25.013" v="1558" actId="1035"/>
          <ac:spMkLst>
            <pc:docMk/>
            <pc:sldMk cId="4138946172" sldId="2147475320"/>
            <ac:spMk id="4" creationId="{EECEE998-BE29-5C82-3181-32A85F2717B7}"/>
          </ac:spMkLst>
        </pc:spChg>
        <pc:spChg chg="mod">
          <ac:chgData name="Andres Satizabal" userId="dd95d34c-96ea-48c0-9463-47f87a3366af" providerId="ADAL" clId="{61125DC2-6BC9-4440-BD9B-65C1B22438C3}" dt="2024-07-10T15:50:25.013" v="1558" actId="1035"/>
          <ac:spMkLst>
            <pc:docMk/>
            <pc:sldMk cId="4138946172" sldId="2147475320"/>
            <ac:spMk id="7" creationId="{FC239926-804D-540A-2015-220B246540D5}"/>
          </ac:spMkLst>
        </pc:spChg>
        <pc:spChg chg="mod">
          <ac:chgData name="Andres Satizabal" userId="dd95d34c-96ea-48c0-9463-47f87a3366af" providerId="ADAL" clId="{61125DC2-6BC9-4440-BD9B-65C1B22438C3}" dt="2024-07-10T15:50:25.013" v="1558" actId="1035"/>
          <ac:spMkLst>
            <pc:docMk/>
            <pc:sldMk cId="4138946172" sldId="2147475320"/>
            <ac:spMk id="8" creationId="{8D40EF30-BB20-A5DD-9A2B-EE4E0330DAB1}"/>
          </ac:spMkLst>
        </pc:spChg>
        <pc:spChg chg="mod">
          <ac:chgData name="Andres Satizabal" userId="dd95d34c-96ea-48c0-9463-47f87a3366af" providerId="ADAL" clId="{61125DC2-6BC9-4440-BD9B-65C1B22438C3}" dt="2024-07-10T15:50:25.013" v="1558" actId="1035"/>
          <ac:spMkLst>
            <pc:docMk/>
            <pc:sldMk cId="4138946172" sldId="2147475320"/>
            <ac:spMk id="9" creationId="{29D1C70A-B876-567E-2C6E-62C980A064D1}"/>
          </ac:spMkLst>
        </pc:spChg>
        <pc:spChg chg="mod">
          <ac:chgData name="Andres Satizabal" userId="dd95d34c-96ea-48c0-9463-47f87a3366af" providerId="ADAL" clId="{61125DC2-6BC9-4440-BD9B-65C1B22438C3}" dt="2024-07-10T15:51:36.020" v="1711" actId="20577"/>
          <ac:spMkLst>
            <pc:docMk/>
            <pc:sldMk cId="4138946172" sldId="2147475320"/>
            <ac:spMk id="12" creationId="{DA055A32-3FF8-64F9-2BF3-6B6B03EED143}"/>
          </ac:spMkLst>
        </pc:spChg>
        <pc:spChg chg="mod">
          <ac:chgData name="Andres Satizabal" userId="dd95d34c-96ea-48c0-9463-47f87a3366af" providerId="ADAL" clId="{61125DC2-6BC9-4440-BD9B-65C1B22438C3}" dt="2024-07-10T15:50:48.696" v="1631" actId="20577"/>
          <ac:spMkLst>
            <pc:docMk/>
            <pc:sldMk cId="4138946172" sldId="2147475320"/>
            <ac:spMk id="22" creationId="{502BCC47-4A27-EF8F-94A4-FC2C6AA596A4}"/>
          </ac:spMkLst>
        </pc:spChg>
        <pc:spChg chg="mod">
          <ac:chgData name="Andres Satizabal" userId="dd95d34c-96ea-48c0-9463-47f87a3366af" providerId="ADAL" clId="{61125DC2-6BC9-4440-BD9B-65C1B22438C3}" dt="2024-07-10T15:50:25.013" v="1558" actId="1035"/>
          <ac:spMkLst>
            <pc:docMk/>
            <pc:sldMk cId="4138946172" sldId="2147475320"/>
            <ac:spMk id="23" creationId="{594335AA-3DF7-CF8E-2A35-0142895CC036}"/>
          </ac:spMkLst>
        </pc:spChg>
        <pc:spChg chg="mod">
          <ac:chgData name="Andres Satizabal" userId="dd95d34c-96ea-48c0-9463-47f87a3366af" providerId="ADAL" clId="{61125DC2-6BC9-4440-BD9B-65C1B22438C3}" dt="2024-07-10T15:50:25.013" v="1558" actId="1035"/>
          <ac:spMkLst>
            <pc:docMk/>
            <pc:sldMk cId="4138946172" sldId="2147475320"/>
            <ac:spMk id="24" creationId="{75C32E1D-096F-C14E-7789-0F7B44956912}"/>
          </ac:spMkLst>
        </pc:spChg>
        <pc:spChg chg="mod">
          <ac:chgData name="Andres Satizabal" userId="dd95d34c-96ea-48c0-9463-47f87a3366af" providerId="ADAL" clId="{61125DC2-6BC9-4440-BD9B-65C1B22438C3}" dt="2024-07-10T15:50:25.013" v="1558" actId="1035"/>
          <ac:spMkLst>
            <pc:docMk/>
            <pc:sldMk cId="4138946172" sldId="2147475320"/>
            <ac:spMk id="26" creationId="{5D2455F6-66AA-E41C-58FA-1830342EB00C}"/>
          </ac:spMkLst>
        </pc:spChg>
        <pc:spChg chg="mod">
          <ac:chgData name="Andres Satizabal" userId="dd95d34c-96ea-48c0-9463-47f87a3366af" providerId="ADAL" clId="{61125DC2-6BC9-4440-BD9B-65C1B22438C3}" dt="2024-07-10T15:50:25.013" v="1558" actId="1035"/>
          <ac:spMkLst>
            <pc:docMk/>
            <pc:sldMk cId="4138946172" sldId="2147475320"/>
            <ac:spMk id="28" creationId="{9BA59F76-EE84-F435-C266-1723B73BB617}"/>
          </ac:spMkLst>
        </pc:spChg>
        <pc:spChg chg="mod">
          <ac:chgData name="Andres Satizabal" userId="dd95d34c-96ea-48c0-9463-47f87a3366af" providerId="ADAL" clId="{61125DC2-6BC9-4440-BD9B-65C1B22438C3}" dt="2024-07-10T15:50:25.013" v="1558" actId="1035"/>
          <ac:spMkLst>
            <pc:docMk/>
            <pc:sldMk cId="4138946172" sldId="2147475320"/>
            <ac:spMk id="51" creationId="{7B84341A-1094-A751-C490-35E8D02CE41A}"/>
          </ac:spMkLst>
        </pc:spChg>
        <pc:spChg chg="mod">
          <ac:chgData name="Andres Satizabal" userId="dd95d34c-96ea-48c0-9463-47f87a3366af" providerId="ADAL" clId="{61125DC2-6BC9-4440-BD9B-65C1B22438C3}" dt="2024-07-10T15:50:25.013" v="1558" actId="1035"/>
          <ac:spMkLst>
            <pc:docMk/>
            <pc:sldMk cId="4138946172" sldId="2147475320"/>
            <ac:spMk id="52" creationId="{C9515763-40B5-0DBE-B16E-FA0AFD0185B8}"/>
          </ac:spMkLst>
        </pc:spChg>
        <pc:spChg chg="mod">
          <ac:chgData name="Andres Satizabal" userId="dd95d34c-96ea-48c0-9463-47f87a3366af" providerId="ADAL" clId="{61125DC2-6BC9-4440-BD9B-65C1B22438C3}" dt="2024-07-10T15:50:25.013" v="1558" actId="1035"/>
          <ac:spMkLst>
            <pc:docMk/>
            <pc:sldMk cId="4138946172" sldId="2147475320"/>
            <ac:spMk id="53" creationId="{4E8CBE4D-5CD5-8567-2535-6C9420743826}"/>
          </ac:spMkLst>
        </pc:spChg>
        <pc:spChg chg="mod">
          <ac:chgData name="Andres Satizabal" userId="dd95d34c-96ea-48c0-9463-47f87a3366af" providerId="ADAL" clId="{61125DC2-6BC9-4440-BD9B-65C1B22438C3}" dt="2024-07-10T15:50:25.013" v="1558" actId="1035"/>
          <ac:spMkLst>
            <pc:docMk/>
            <pc:sldMk cId="4138946172" sldId="2147475320"/>
            <ac:spMk id="54" creationId="{45944AC8-71EE-3EE6-B3F7-6480135ADDED}"/>
          </ac:spMkLst>
        </pc:spChg>
        <pc:spChg chg="mod">
          <ac:chgData name="Andres Satizabal" userId="dd95d34c-96ea-48c0-9463-47f87a3366af" providerId="ADAL" clId="{61125DC2-6BC9-4440-BD9B-65C1B22438C3}" dt="2024-07-10T15:50:25.013" v="1558" actId="1035"/>
          <ac:spMkLst>
            <pc:docMk/>
            <pc:sldMk cId="4138946172" sldId="2147475320"/>
            <ac:spMk id="56" creationId="{2BE04439-6DC8-B393-86BB-996CD0185072}"/>
          </ac:spMkLst>
        </pc:spChg>
        <pc:spChg chg="mod">
          <ac:chgData name="Andres Satizabal" userId="dd95d34c-96ea-48c0-9463-47f87a3366af" providerId="ADAL" clId="{61125DC2-6BC9-4440-BD9B-65C1B22438C3}" dt="2024-07-10T15:50:25.013" v="1558" actId="1035"/>
          <ac:spMkLst>
            <pc:docMk/>
            <pc:sldMk cId="4138946172" sldId="2147475320"/>
            <ac:spMk id="57" creationId="{AC5CBBD5-C656-D280-D8C7-2B2A74CB8D0D}"/>
          </ac:spMkLst>
        </pc:spChg>
        <pc:picChg chg="mod">
          <ac:chgData name="Andres Satizabal" userId="dd95d34c-96ea-48c0-9463-47f87a3366af" providerId="ADAL" clId="{61125DC2-6BC9-4440-BD9B-65C1B22438C3}" dt="2024-07-10T15:50:25.013" v="1558" actId="1035"/>
          <ac:picMkLst>
            <pc:docMk/>
            <pc:sldMk cId="4138946172" sldId="2147475320"/>
            <ac:picMk id="27" creationId="{845DB089-235E-F9EF-33DE-9AA5425721ED}"/>
          </ac:picMkLst>
        </pc:picChg>
        <pc:picChg chg="mod">
          <ac:chgData name="Andres Satizabal" userId="dd95d34c-96ea-48c0-9463-47f87a3366af" providerId="ADAL" clId="{61125DC2-6BC9-4440-BD9B-65C1B22438C3}" dt="2024-07-10T15:50:25.013" v="1558" actId="1035"/>
          <ac:picMkLst>
            <pc:docMk/>
            <pc:sldMk cId="4138946172" sldId="2147475320"/>
            <ac:picMk id="29" creationId="{2540B80D-A6D0-8F8B-39C6-0680F6AC885E}"/>
          </ac:picMkLst>
        </pc:picChg>
        <pc:cxnChg chg="mod">
          <ac:chgData name="Andres Satizabal" userId="dd95d34c-96ea-48c0-9463-47f87a3366af" providerId="ADAL" clId="{61125DC2-6BC9-4440-BD9B-65C1B22438C3}" dt="2024-07-10T15:50:25.013" v="1558" actId="1035"/>
          <ac:cxnSpMkLst>
            <pc:docMk/>
            <pc:sldMk cId="4138946172" sldId="2147475320"/>
            <ac:cxnSpMk id="25" creationId="{82D48592-FCD9-86AF-9A4D-98CD5D2927FE}"/>
          </ac:cxnSpMkLst>
        </pc:cxnChg>
      </pc:sldChg>
      <pc:sldChg chg="addSp delSp modSp mod">
        <pc:chgData name="Andres Satizabal" userId="dd95d34c-96ea-48c0-9463-47f87a3366af" providerId="ADAL" clId="{61125DC2-6BC9-4440-BD9B-65C1B22438C3}" dt="2024-07-10T16:00:20.742" v="2335" actId="1035"/>
        <pc:sldMkLst>
          <pc:docMk/>
          <pc:sldMk cId="1481217205" sldId="2147482488"/>
        </pc:sldMkLst>
        <pc:spChg chg="add mod">
          <ac:chgData name="Andres Satizabal" userId="dd95d34c-96ea-48c0-9463-47f87a3366af" providerId="ADAL" clId="{61125DC2-6BC9-4440-BD9B-65C1B22438C3}" dt="2024-07-10T15:53:49.858" v="1988"/>
          <ac:spMkLst>
            <pc:docMk/>
            <pc:sldMk cId="1481217205" sldId="2147482488"/>
            <ac:spMk id="2" creationId="{46B79329-E56E-5EA1-4ED8-3A89D2FBE8A0}"/>
          </ac:spMkLst>
        </pc:spChg>
        <pc:spChg chg="del">
          <ac:chgData name="Andres Satizabal" userId="dd95d34c-96ea-48c0-9463-47f87a3366af" providerId="ADAL" clId="{61125DC2-6BC9-4440-BD9B-65C1B22438C3}" dt="2024-07-10T15:53:45.659" v="1987" actId="478"/>
          <ac:spMkLst>
            <pc:docMk/>
            <pc:sldMk cId="1481217205" sldId="2147482488"/>
            <ac:spMk id="3" creationId="{0BD7F545-5B5F-CED1-A765-27595D933031}"/>
          </ac:spMkLst>
        </pc:spChg>
        <pc:spChg chg="add mod">
          <ac:chgData name="Andres Satizabal" userId="dd95d34c-96ea-48c0-9463-47f87a3366af" providerId="ADAL" clId="{61125DC2-6BC9-4440-BD9B-65C1B22438C3}" dt="2024-07-10T16:00:20.742" v="2335" actId="1035"/>
          <ac:spMkLst>
            <pc:docMk/>
            <pc:sldMk cId="1481217205" sldId="2147482488"/>
            <ac:spMk id="4" creationId="{2F07A98B-7ACB-0B94-B36B-CCCE13B77861}"/>
          </ac:spMkLst>
        </pc:spChg>
        <pc:spChg chg="mod">
          <ac:chgData name="Andres Satizabal" userId="dd95d34c-96ea-48c0-9463-47f87a3366af" providerId="ADAL" clId="{61125DC2-6BC9-4440-BD9B-65C1B22438C3}" dt="2024-07-10T15:53:57.764" v="2021" actId="20577"/>
          <ac:spMkLst>
            <pc:docMk/>
            <pc:sldMk cId="1481217205" sldId="2147482488"/>
            <ac:spMk id="21" creationId="{F7851A6A-B8AD-F4F1-2396-67EDBFD7A6DB}"/>
          </ac:spMkLst>
        </pc:spChg>
        <pc:grpChg chg="add mod">
          <ac:chgData name="Andres Satizabal" userId="dd95d34c-96ea-48c0-9463-47f87a3366af" providerId="ADAL" clId="{61125DC2-6BC9-4440-BD9B-65C1B22438C3}" dt="2024-07-10T16:00:20.742" v="2335" actId="1035"/>
          <ac:grpSpMkLst>
            <pc:docMk/>
            <pc:sldMk cId="1481217205" sldId="2147482488"/>
            <ac:grpSpMk id="7" creationId="{653EAF6B-2BA3-6732-304C-2B2258C4AD43}"/>
          </ac:grpSpMkLst>
        </pc:grpChg>
        <pc:cxnChg chg="mod">
          <ac:chgData name="Andres Satizabal" userId="dd95d34c-96ea-48c0-9463-47f87a3366af" providerId="ADAL" clId="{61125DC2-6BC9-4440-BD9B-65C1B22438C3}" dt="2024-07-10T16:00:19.444" v="2326"/>
          <ac:cxnSpMkLst>
            <pc:docMk/>
            <pc:sldMk cId="1481217205" sldId="2147482488"/>
            <ac:cxnSpMk id="8" creationId="{C4E20446-33F2-9512-2208-C3BEBE1378FC}"/>
          </ac:cxnSpMkLst>
        </pc:cxnChg>
        <pc:cxnChg chg="mod">
          <ac:chgData name="Andres Satizabal" userId="dd95d34c-96ea-48c0-9463-47f87a3366af" providerId="ADAL" clId="{61125DC2-6BC9-4440-BD9B-65C1B22438C3}" dt="2024-07-10T16:00:19.444" v="2326"/>
          <ac:cxnSpMkLst>
            <pc:docMk/>
            <pc:sldMk cId="1481217205" sldId="2147482488"/>
            <ac:cxnSpMk id="9" creationId="{8A6A23A7-007F-6970-56A2-45149DDE95EF}"/>
          </ac:cxnSpMkLst>
        </pc:cxnChg>
      </pc:sldChg>
      <pc:sldChg chg="modSp mod">
        <pc:chgData name="Andres Satizabal" userId="dd95d34c-96ea-48c0-9463-47f87a3366af" providerId="ADAL" clId="{61125DC2-6BC9-4440-BD9B-65C1B22438C3}" dt="2024-07-10T15:55:39.872" v="2120"/>
        <pc:sldMkLst>
          <pc:docMk/>
          <pc:sldMk cId="4268544180" sldId="2147482715"/>
        </pc:sldMkLst>
        <pc:spChg chg="mod">
          <ac:chgData name="Andres Satizabal" userId="dd95d34c-96ea-48c0-9463-47f87a3366af" providerId="ADAL" clId="{61125DC2-6BC9-4440-BD9B-65C1B22438C3}" dt="2024-07-10T15:55:39.872" v="2120"/>
          <ac:spMkLst>
            <pc:docMk/>
            <pc:sldMk cId="4268544180" sldId="2147482715"/>
            <ac:spMk id="208" creationId="{DA81DA77-AF07-3822-A60C-F2F45DDD23F6}"/>
          </ac:spMkLst>
        </pc:spChg>
      </pc:sldChg>
      <pc:sldChg chg="addSp modSp mod">
        <pc:chgData name="Andres Satizabal" userId="dd95d34c-96ea-48c0-9463-47f87a3366af" providerId="ADAL" clId="{61125DC2-6BC9-4440-BD9B-65C1B22438C3}" dt="2024-07-10T16:00:24.457" v="2339" actId="1035"/>
        <pc:sldMkLst>
          <pc:docMk/>
          <pc:sldMk cId="1328711185" sldId="2147482717"/>
        </pc:sldMkLst>
        <pc:spChg chg="add mod">
          <ac:chgData name="Andres Satizabal" userId="dd95d34c-96ea-48c0-9463-47f87a3366af" providerId="ADAL" clId="{61125DC2-6BC9-4440-BD9B-65C1B22438C3}" dt="2024-07-10T16:00:24.457" v="2339" actId="1035"/>
          <ac:spMkLst>
            <pc:docMk/>
            <pc:sldMk cId="1328711185" sldId="2147482717"/>
            <ac:spMk id="3" creationId="{AE09AC24-4AC9-7DC5-FEE9-5BD5F9CA4F05}"/>
          </ac:spMkLst>
        </pc:spChg>
        <pc:spChg chg="mod">
          <ac:chgData name="Andres Satizabal" userId="dd95d34c-96ea-48c0-9463-47f87a3366af" providerId="ADAL" clId="{61125DC2-6BC9-4440-BD9B-65C1B22438C3}" dt="2024-07-10T15:54:12.640" v="2089" actId="20577"/>
          <ac:spMkLst>
            <pc:docMk/>
            <pc:sldMk cId="1328711185" sldId="2147482717"/>
            <ac:spMk id="21" creationId="{F7851A6A-B8AD-F4F1-2396-67EDBFD7A6DB}"/>
          </ac:spMkLst>
        </pc:spChg>
        <pc:grpChg chg="add mod">
          <ac:chgData name="Andres Satizabal" userId="dd95d34c-96ea-48c0-9463-47f87a3366af" providerId="ADAL" clId="{61125DC2-6BC9-4440-BD9B-65C1B22438C3}" dt="2024-07-10T16:00:24.457" v="2339" actId="1035"/>
          <ac:grpSpMkLst>
            <pc:docMk/>
            <pc:sldMk cId="1328711185" sldId="2147482717"/>
            <ac:grpSpMk id="6" creationId="{E2B41DE0-BE43-83BC-F7D1-31F0A6EA51ED}"/>
          </ac:grpSpMkLst>
        </pc:grpChg>
        <pc:cxnChg chg="mod">
          <ac:chgData name="Andres Satizabal" userId="dd95d34c-96ea-48c0-9463-47f87a3366af" providerId="ADAL" clId="{61125DC2-6BC9-4440-BD9B-65C1B22438C3}" dt="2024-07-10T16:00:23.259" v="2336"/>
          <ac:cxnSpMkLst>
            <pc:docMk/>
            <pc:sldMk cId="1328711185" sldId="2147482717"/>
            <ac:cxnSpMk id="7" creationId="{2AA2DA94-2D04-6700-F9EE-63B37EFE762E}"/>
          </ac:cxnSpMkLst>
        </pc:cxnChg>
        <pc:cxnChg chg="mod">
          <ac:chgData name="Andres Satizabal" userId="dd95d34c-96ea-48c0-9463-47f87a3366af" providerId="ADAL" clId="{61125DC2-6BC9-4440-BD9B-65C1B22438C3}" dt="2024-07-10T16:00:23.259" v="2336"/>
          <ac:cxnSpMkLst>
            <pc:docMk/>
            <pc:sldMk cId="1328711185" sldId="2147482717"/>
            <ac:cxnSpMk id="9" creationId="{B3BC304E-675B-4523-2BBF-8676339F1054}"/>
          </ac:cxnSpMkLst>
        </pc:cxnChg>
      </pc:sldChg>
      <pc:sldChg chg="addSp modSp mod">
        <pc:chgData name="Andres Satizabal" userId="dd95d34c-96ea-48c0-9463-47f87a3366af" providerId="ADAL" clId="{61125DC2-6BC9-4440-BD9B-65C1B22438C3}" dt="2024-07-10T16:00:55.900" v="2356" actId="20577"/>
        <pc:sldMkLst>
          <pc:docMk/>
          <pc:sldMk cId="1676002536" sldId="2147482718"/>
        </pc:sldMkLst>
        <pc:spChg chg="add mod">
          <ac:chgData name="Andres Satizabal" userId="dd95d34c-96ea-48c0-9463-47f87a3366af" providerId="ADAL" clId="{61125DC2-6BC9-4440-BD9B-65C1B22438C3}" dt="2024-07-10T16:00:49.331" v="2346" actId="1036"/>
          <ac:spMkLst>
            <pc:docMk/>
            <pc:sldMk cId="1676002536" sldId="2147482718"/>
            <ac:spMk id="2" creationId="{57C06CFE-664D-C1DA-DE85-F39370C66BED}"/>
          </ac:spMkLst>
        </pc:spChg>
        <pc:spChg chg="mod">
          <ac:chgData name="Andres Satizabal" userId="dd95d34c-96ea-48c0-9463-47f87a3366af" providerId="ADAL" clId="{61125DC2-6BC9-4440-BD9B-65C1B22438C3}" dt="2024-07-10T16:00:55.900" v="2356" actId="20577"/>
          <ac:spMkLst>
            <pc:docMk/>
            <pc:sldMk cId="1676002536" sldId="2147482718"/>
            <ac:spMk id="2084" creationId="{360959CF-FDE8-F2E3-0025-90548FD8FD67}"/>
          </ac:spMkLst>
        </pc:spChg>
        <pc:grpChg chg="add mod">
          <ac:chgData name="Andres Satizabal" userId="dd95d34c-96ea-48c0-9463-47f87a3366af" providerId="ADAL" clId="{61125DC2-6BC9-4440-BD9B-65C1B22438C3}" dt="2024-07-10T16:00:49.331" v="2346" actId="1036"/>
          <ac:grpSpMkLst>
            <pc:docMk/>
            <pc:sldMk cId="1676002536" sldId="2147482718"/>
            <ac:grpSpMk id="4" creationId="{E680EF11-01F5-46EF-6D3D-EEBFFE4B5B22}"/>
          </ac:grpSpMkLst>
        </pc:grpChg>
        <pc:cxnChg chg="mod">
          <ac:chgData name="Andres Satizabal" userId="dd95d34c-96ea-48c0-9463-47f87a3366af" providerId="ADAL" clId="{61125DC2-6BC9-4440-BD9B-65C1B22438C3}" dt="2024-07-10T16:00:48.047" v="2340"/>
          <ac:cxnSpMkLst>
            <pc:docMk/>
            <pc:sldMk cId="1676002536" sldId="2147482718"/>
            <ac:cxnSpMk id="6" creationId="{EF6A8FF9-AAE0-5AB6-E10A-D5469C3574D8}"/>
          </ac:cxnSpMkLst>
        </pc:cxnChg>
        <pc:cxnChg chg="mod">
          <ac:chgData name="Andres Satizabal" userId="dd95d34c-96ea-48c0-9463-47f87a3366af" providerId="ADAL" clId="{61125DC2-6BC9-4440-BD9B-65C1B22438C3}" dt="2024-07-10T16:00:48.047" v="2340"/>
          <ac:cxnSpMkLst>
            <pc:docMk/>
            <pc:sldMk cId="1676002536" sldId="2147482718"/>
            <ac:cxnSpMk id="7" creationId="{F22747A6-3675-F24B-7B47-461D4B0CA5C9}"/>
          </ac:cxnSpMkLst>
        </pc:cxnChg>
      </pc:sldChg>
      <pc:sldChg chg="addSp modSp mod">
        <pc:chgData name="Andres Satizabal" userId="dd95d34c-96ea-48c0-9463-47f87a3366af" providerId="ADAL" clId="{61125DC2-6BC9-4440-BD9B-65C1B22438C3}" dt="2024-07-10T16:01:04.944" v="2363" actId="1036"/>
        <pc:sldMkLst>
          <pc:docMk/>
          <pc:sldMk cId="763866243" sldId="2147482719"/>
        </pc:sldMkLst>
        <pc:spChg chg="add mod">
          <ac:chgData name="Andres Satizabal" userId="dd95d34c-96ea-48c0-9463-47f87a3366af" providerId="ADAL" clId="{61125DC2-6BC9-4440-BD9B-65C1B22438C3}" dt="2024-07-10T16:01:04.944" v="2363" actId="1036"/>
          <ac:spMkLst>
            <pc:docMk/>
            <pc:sldMk cId="763866243" sldId="2147482719"/>
            <ac:spMk id="7" creationId="{8321ABED-EC14-6928-031C-2CB6E59A7369}"/>
          </ac:spMkLst>
        </pc:spChg>
        <pc:grpChg chg="add mod">
          <ac:chgData name="Andres Satizabal" userId="dd95d34c-96ea-48c0-9463-47f87a3366af" providerId="ADAL" clId="{61125DC2-6BC9-4440-BD9B-65C1B22438C3}" dt="2024-07-10T16:01:04.944" v="2363" actId="1036"/>
          <ac:grpSpMkLst>
            <pc:docMk/>
            <pc:sldMk cId="763866243" sldId="2147482719"/>
            <ac:grpSpMk id="9" creationId="{67BCDF63-8DD6-3E52-F2ED-9046B430A43D}"/>
          </ac:grpSpMkLst>
        </pc:grpChg>
        <pc:cxnChg chg="mod">
          <ac:chgData name="Andres Satizabal" userId="dd95d34c-96ea-48c0-9463-47f87a3366af" providerId="ADAL" clId="{61125DC2-6BC9-4440-BD9B-65C1B22438C3}" dt="2024-07-10T16:01:03.844" v="2357"/>
          <ac:cxnSpMkLst>
            <pc:docMk/>
            <pc:sldMk cId="763866243" sldId="2147482719"/>
            <ac:cxnSpMk id="39" creationId="{B010F874-EFD4-B99D-7B5D-E12D98A09CED}"/>
          </ac:cxnSpMkLst>
        </pc:cxnChg>
        <pc:cxnChg chg="mod">
          <ac:chgData name="Andres Satizabal" userId="dd95d34c-96ea-48c0-9463-47f87a3366af" providerId="ADAL" clId="{61125DC2-6BC9-4440-BD9B-65C1B22438C3}" dt="2024-07-10T16:01:03.844" v="2357"/>
          <ac:cxnSpMkLst>
            <pc:docMk/>
            <pc:sldMk cId="763866243" sldId="2147482719"/>
            <ac:cxnSpMk id="40" creationId="{144BBCBA-14DE-91BB-B761-CC4EA5B9D09D}"/>
          </ac:cxnSpMkLst>
        </pc:cxnChg>
      </pc:sldChg>
      <pc:sldChg chg="modSp mod">
        <pc:chgData name="Andres Satizabal" userId="dd95d34c-96ea-48c0-9463-47f87a3366af" providerId="ADAL" clId="{61125DC2-6BC9-4440-BD9B-65C1B22438C3}" dt="2024-07-10T16:01:51.063" v="2425" actId="20577"/>
        <pc:sldMkLst>
          <pc:docMk/>
          <pc:sldMk cId="3573288427" sldId="2147482720"/>
        </pc:sldMkLst>
        <pc:spChg chg="mod">
          <ac:chgData name="Andres Satizabal" userId="dd95d34c-96ea-48c0-9463-47f87a3366af" providerId="ADAL" clId="{61125DC2-6BC9-4440-BD9B-65C1B22438C3}" dt="2024-07-10T16:01:51.063" v="2425" actId="20577"/>
          <ac:spMkLst>
            <pc:docMk/>
            <pc:sldMk cId="3573288427" sldId="2147482720"/>
            <ac:spMk id="4" creationId="{6C3D70B7-4E2E-5E5A-7D7E-EE4A9E583F46}"/>
          </ac:spMkLst>
        </pc:spChg>
        <pc:spChg chg="mod">
          <ac:chgData name="Andres Satizabal" userId="dd95d34c-96ea-48c0-9463-47f87a3366af" providerId="ADAL" clId="{61125DC2-6BC9-4440-BD9B-65C1B22438C3}" dt="2024-07-10T16:01:38.470" v="2393" actId="20577"/>
          <ac:spMkLst>
            <pc:docMk/>
            <pc:sldMk cId="3573288427" sldId="2147482720"/>
            <ac:spMk id="15" creationId="{E1339E3C-BA00-8A1A-87BD-6AAD4EF1995B}"/>
          </ac:spMkLst>
        </pc:spChg>
      </pc:sldChg>
      <pc:sldChg chg="addSp modSp mod">
        <pc:chgData name="Andres Satizabal" userId="dd95d34c-96ea-48c0-9463-47f87a3366af" providerId="ADAL" clId="{61125DC2-6BC9-4440-BD9B-65C1B22438C3}" dt="2024-07-10T16:07:26.571" v="2565" actId="1035"/>
        <pc:sldMkLst>
          <pc:docMk/>
          <pc:sldMk cId="2476773217" sldId="2147482721"/>
        </pc:sldMkLst>
        <pc:spChg chg="mod">
          <ac:chgData name="Andres Satizabal" userId="dd95d34c-96ea-48c0-9463-47f87a3366af" providerId="ADAL" clId="{61125DC2-6BC9-4440-BD9B-65C1B22438C3}" dt="2024-07-10T16:07:14.875" v="2552" actId="20577"/>
          <ac:spMkLst>
            <pc:docMk/>
            <pc:sldMk cId="2476773217" sldId="2147482721"/>
            <ac:spMk id="13" creationId="{2C81D56E-0AD9-2F16-49A0-D01418BFB7FE}"/>
          </ac:spMkLst>
        </pc:spChg>
        <pc:spChg chg="mod">
          <ac:chgData name="Andres Satizabal" userId="dd95d34c-96ea-48c0-9463-47f87a3366af" providerId="ADAL" clId="{61125DC2-6BC9-4440-BD9B-65C1B22438C3}" dt="2024-07-10T16:07:20.707" v="2553" actId="20577"/>
          <ac:spMkLst>
            <pc:docMk/>
            <pc:sldMk cId="2476773217" sldId="2147482721"/>
            <ac:spMk id="22" creationId="{08591055-8488-8EB5-9479-0B1C21FD1347}"/>
          </ac:spMkLst>
        </pc:spChg>
        <pc:spChg chg="add mod">
          <ac:chgData name="Andres Satizabal" userId="dd95d34c-96ea-48c0-9463-47f87a3366af" providerId="ADAL" clId="{61125DC2-6BC9-4440-BD9B-65C1B22438C3}" dt="2024-07-10T16:07:26.571" v="2565" actId="1035"/>
          <ac:spMkLst>
            <pc:docMk/>
            <pc:sldMk cId="2476773217" sldId="2147482721"/>
            <ac:spMk id="23" creationId="{3994CB79-889F-67C0-B40B-83415D82976C}"/>
          </ac:spMkLst>
        </pc:spChg>
        <pc:grpChg chg="add mod">
          <ac:chgData name="Andres Satizabal" userId="dd95d34c-96ea-48c0-9463-47f87a3366af" providerId="ADAL" clId="{61125DC2-6BC9-4440-BD9B-65C1B22438C3}" dt="2024-07-10T16:07:26.571" v="2565" actId="1035"/>
          <ac:grpSpMkLst>
            <pc:docMk/>
            <pc:sldMk cId="2476773217" sldId="2147482721"/>
            <ac:grpSpMk id="25" creationId="{10534C80-F3DB-B320-B8F6-C2CAD215ABA0}"/>
          </ac:grpSpMkLst>
        </pc:grpChg>
        <pc:cxnChg chg="mod">
          <ac:chgData name="Andres Satizabal" userId="dd95d34c-96ea-48c0-9463-47f87a3366af" providerId="ADAL" clId="{61125DC2-6BC9-4440-BD9B-65C1B22438C3}" dt="2024-07-10T16:07:25.292" v="2554"/>
          <ac:cxnSpMkLst>
            <pc:docMk/>
            <pc:sldMk cId="2476773217" sldId="2147482721"/>
            <ac:cxnSpMk id="26" creationId="{137DED28-B1EC-851F-50C3-D1543D5BC964}"/>
          </ac:cxnSpMkLst>
        </pc:cxnChg>
        <pc:cxnChg chg="mod">
          <ac:chgData name="Andres Satizabal" userId="dd95d34c-96ea-48c0-9463-47f87a3366af" providerId="ADAL" clId="{61125DC2-6BC9-4440-BD9B-65C1B22438C3}" dt="2024-07-10T16:07:25.292" v="2554"/>
          <ac:cxnSpMkLst>
            <pc:docMk/>
            <pc:sldMk cId="2476773217" sldId="2147482721"/>
            <ac:cxnSpMk id="27" creationId="{49ED321C-BEA6-F57F-7D8B-EF2035047A43}"/>
          </ac:cxnSpMkLst>
        </pc:cxnChg>
      </pc:sldChg>
      <pc:sldChg chg="modSp mod">
        <pc:chgData name="Andres Satizabal" userId="dd95d34c-96ea-48c0-9463-47f87a3366af" providerId="ADAL" clId="{61125DC2-6BC9-4440-BD9B-65C1B22438C3}" dt="2024-07-10T16:09:40.124" v="2755" actId="20577"/>
        <pc:sldMkLst>
          <pc:docMk/>
          <pc:sldMk cId="4220868363" sldId="2147482724"/>
        </pc:sldMkLst>
        <pc:spChg chg="mod">
          <ac:chgData name="Andres Satizabal" userId="dd95d34c-96ea-48c0-9463-47f87a3366af" providerId="ADAL" clId="{61125DC2-6BC9-4440-BD9B-65C1B22438C3}" dt="2024-07-10T16:09:40.124" v="2755" actId="20577"/>
          <ac:spMkLst>
            <pc:docMk/>
            <pc:sldMk cId="4220868363" sldId="2147482724"/>
            <ac:spMk id="19" creationId="{C513686B-45C4-0222-FBC8-74715668B7FE}"/>
          </ac:spMkLst>
        </pc:spChg>
        <pc:spChg chg="mod">
          <ac:chgData name="Andres Satizabal" userId="dd95d34c-96ea-48c0-9463-47f87a3366af" providerId="ADAL" clId="{61125DC2-6BC9-4440-BD9B-65C1B22438C3}" dt="2024-07-10T16:09:02.020" v="2711" actId="20577"/>
          <ac:spMkLst>
            <pc:docMk/>
            <pc:sldMk cId="4220868363" sldId="2147482724"/>
            <ac:spMk id="20" creationId="{145C025C-1117-3D3B-DA6B-AB9D7F554420}"/>
          </ac:spMkLst>
        </pc:spChg>
      </pc:sldChg>
      <pc:sldChg chg="addSp delSp modSp mod">
        <pc:chgData name="Andres Satizabal" userId="dd95d34c-96ea-48c0-9463-47f87a3366af" providerId="ADAL" clId="{61125DC2-6BC9-4440-BD9B-65C1B22438C3}" dt="2024-07-10T16:11:50.704" v="2937" actId="20577"/>
        <pc:sldMkLst>
          <pc:docMk/>
          <pc:sldMk cId="1715933373" sldId="2147482726"/>
        </pc:sldMkLst>
        <pc:spChg chg="add del mod">
          <ac:chgData name="Andres Satizabal" userId="dd95d34c-96ea-48c0-9463-47f87a3366af" providerId="ADAL" clId="{61125DC2-6BC9-4440-BD9B-65C1B22438C3}" dt="2024-07-10T16:11:50.704" v="2937" actId="20577"/>
          <ac:spMkLst>
            <pc:docMk/>
            <pc:sldMk cId="1715933373" sldId="2147482726"/>
            <ac:spMk id="5" creationId="{5225E063-80CB-D425-01CF-A218C81DA4B9}"/>
          </ac:spMkLst>
        </pc:spChg>
        <pc:grpChg chg="add del mod">
          <ac:chgData name="Andres Satizabal" userId="dd95d34c-96ea-48c0-9463-47f87a3366af" providerId="ADAL" clId="{61125DC2-6BC9-4440-BD9B-65C1B22438C3}" dt="2024-07-10T16:10:53.758" v="2845" actId="165"/>
          <ac:grpSpMkLst>
            <pc:docMk/>
            <pc:sldMk cId="1715933373" sldId="2147482726"/>
            <ac:grpSpMk id="6" creationId="{C11F1FDE-7E85-0AEC-A9D9-FD14A5866BE5}"/>
          </ac:grpSpMkLst>
        </pc:grpChg>
        <pc:grpChg chg="add del mod">
          <ac:chgData name="Andres Satizabal" userId="dd95d34c-96ea-48c0-9463-47f87a3366af" providerId="ADAL" clId="{61125DC2-6BC9-4440-BD9B-65C1B22438C3}" dt="2024-07-10T16:11:45.982" v="2933" actId="165"/>
          <ac:grpSpMkLst>
            <pc:docMk/>
            <pc:sldMk cId="1715933373" sldId="2147482726"/>
            <ac:grpSpMk id="9" creationId="{E7D35746-EDF6-6CAD-8A04-67A649E6BA08}"/>
          </ac:grpSpMkLst>
        </pc:grpChg>
        <pc:graphicFrameChg chg="mod modGraphic">
          <ac:chgData name="Andres Satizabal" userId="dd95d34c-96ea-48c0-9463-47f87a3366af" providerId="ADAL" clId="{61125DC2-6BC9-4440-BD9B-65C1B22438C3}" dt="2024-07-10T16:11:34.817" v="2929" actId="20577"/>
          <ac:graphicFrameMkLst>
            <pc:docMk/>
            <pc:sldMk cId="1715933373" sldId="2147482726"/>
            <ac:graphicFrameMk id="2" creationId="{EC14C841-CE97-A8BB-7E84-CA004CD1F011}"/>
          </ac:graphicFrameMkLst>
        </pc:graphicFrameChg>
        <pc:cxnChg chg="del mod topLvl">
          <ac:chgData name="Andres Satizabal" userId="dd95d34c-96ea-48c0-9463-47f87a3366af" providerId="ADAL" clId="{61125DC2-6BC9-4440-BD9B-65C1B22438C3}" dt="2024-07-10T16:11:48.589" v="2935" actId="478"/>
          <ac:cxnSpMkLst>
            <pc:docMk/>
            <pc:sldMk cId="1715933373" sldId="2147482726"/>
            <ac:cxnSpMk id="7" creationId="{311996C9-3C53-CA0F-C98A-87AC37DEF1D4}"/>
          </ac:cxnSpMkLst>
        </pc:cxnChg>
        <pc:cxnChg chg="del mod topLvl">
          <ac:chgData name="Andres Satizabal" userId="dd95d34c-96ea-48c0-9463-47f87a3366af" providerId="ADAL" clId="{61125DC2-6BC9-4440-BD9B-65C1B22438C3}" dt="2024-07-10T16:11:47.804" v="2934" actId="478"/>
          <ac:cxnSpMkLst>
            <pc:docMk/>
            <pc:sldMk cId="1715933373" sldId="2147482726"/>
            <ac:cxnSpMk id="8" creationId="{10BD82E3-4AF4-0C8F-280C-4ACCC50FDDE1}"/>
          </ac:cxnSpMkLst>
        </pc:cxnChg>
      </pc:sldChg>
      <pc:sldChg chg="addSp modSp mod">
        <pc:chgData name="Andres Satizabal" userId="dd95d34c-96ea-48c0-9463-47f87a3366af" providerId="ADAL" clId="{61125DC2-6BC9-4440-BD9B-65C1B22438C3}" dt="2024-07-10T15:59:36.560" v="2210" actId="1035"/>
        <pc:sldMkLst>
          <pc:docMk/>
          <pc:sldMk cId="63295856" sldId="2147482727"/>
        </pc:sldMkLst>
        <pc:spChg chg="add mod">
          <ac:chgData name="Andres Satizabal" userId="dd95d34c-96ea-48c0-9463-47f87a3366af" providerId="ADAL" clId="{61125DC2-6BC9-4440-BD9B-65C1B22438C3}" dt="2024-07-10T15:59:36.560" v="2210" actId="1035"/>
          <ac:spMkLst>
            <pc:docMk/>
            <pc:sldMk cId="63295856" sldId="2147482727"/>
            <ac:spMk id="3" creationId="{BCC60216-B0E2-C1E0-F3DB-19FAD8D11D81}"/>
          </ac:spMkLst>
        </pc:spChg>
        <pc:grpChg chg="add mod">
          <ac:chgData name="Andres Satizabal" userId="dd95d34c-96ea-48c0-9463-47f87a3366af" providerId="ADAL" clId="{61125DC2-6BC9-4440-BD9B-65C1B22438C3}" dt="2024-07-10T15:59:36.560" v="2210" actId="1035"/>
          <ac:grpSpMkLst>
            <pc:docMk/>
            <pc:sldMk cId="63295856" sldId="2147482727"/>
            <ac:grpSpMk id="12" creationId="{0812E123-0F55-CA6A-1821-8B0ECFBAC5F0}"/>
          </ac:grpSpMkLst>
        </pc:grpChg>
        <pc:cxnChg chg="mod">
          <ac:chgData name="Andres Satizabal" userId="dd95d34c-96ea-48c0-9463-47f87a3366af" providerId="ADAL" clId="{61125DC2-6BC9-4440-BD9B-65C1B22438C3}" dt="2024-07-10T15:59:34.742" v="2192"/>
          <ac:cxnSpMkLst>
            <pc:docMk/>
            <pc:sldMk cId="63295856" sldId="2147482727"/>
            <ac:cxnSpMk id="13" creationId="{86859B3D-12E3-72F1-3AD4-A0E0F8C07345}"/>
          </ac:cxnSpMkLst>
        </pc:cxnChg>
        <pc:cxnChg chg="mod">
          <ac:chgData name="Andres Satizabal" userId="dd95d34c-96ea-48c0-9463-47f87a3366af" providerId="ADAL" clId="{61125DC2-6BC9-4440-BD9B-65C1B22438C3}" dt="2024-07-10T15:59:34.742" v="2192"/>
          <ac:cxnSpMkLst>
            <pc:docMk/>
            <pc:sldMk cId="63295856" sldId="2147482727"/>
            <ac:cxnSpMk id="14" creationId="{418CF1FE-B5EB-8A27-345F-38E6F85BA214}"/>
          </ac:cxnSpMkLst>
        </pc:cxnChg>
      </pc:sldChg>
      <pc:sldChg chg="addSp delSp modSp add mod ord delAnim">
        <pc:chgData name="Andres Satizabal" userId="dd95d34c-96ea-48c0-9463-47f87a3366af" providerId="ADAL" clId="{61125DC2-6BC9-4440-BD9B-65C1B22438C3}" dt="2024-07-10T16:06:47.964" v="2548"/>
        <pc:sldMkLst>
          <pc:docMk/>
          <pc:sldMk cId="129924732" sldId="2147482728"/>
        </pc:sldMkLst>
        <pc:spChg chg="mod">
          <ac:chgData name="Andres Satizabal" userId="dd95d34c-96ea-48c0-9463-47f87a3366af" providerId="ADAL" clId="{61125DC2-6BC9-4440-BD9B-65C1B22438C3}" dt="2024-07-10T16:04:25.911" v="2480" actId="20577"/>
          <ac:spMkLst>
            <pc:docMk/>
            <pc:sldMk cId="129924732" sldId="2147482728"/>
            <ac:spMk id="3" creationId="{6C4EA952-3C71-BCD4-2ABD-993EA04A4843}"/>
          </ac:spMkLst>
        </pc:spChg>
        <pc:spChg chg="del">
          <ac:chgData name="Andres Satizabal" userId="dd95d34c-96ea-48c0-9463-47f87a3366af" providerId="ADAL" clId="{61125DC2-6BC9-4440-BD9B-65C1B22438C3}" dt="2024-07-10T16:03:55.177" v="2435" actId="478"/>
          <ac:spMkLst>
            <pc:docMk/>
            <pc:sldMk cId="129924732" sldId="2147482728"/>
            <ac:spMk id="7" creationId="{8321ABED-EC14-6928-031C-2CB6E59A7369}"/>
          </ac:spMkLst>
        </pc:spChg>
        <pc:spChg chg="del">
          <ac:chgData name="Andres Satizabal" userId="dd95d34c-96ea-48c0-9463-47f87a3366af" providerId="ADAL" clId="{61125DC2-6BC9-4440-BD9B-65C1B22438C3}" dt="2024-07-10T16:03:55.177" v="2435" actId="478"/>
          <ac:spMkLst>
            <pc:docMk/>
            <pc:sldMk cId="129924732" sldId="2147482728"/>
            <ac:spMk id="10" creationId="{1396DD86-7161-5172-F809-24B448C1C193}"/>
          </ac:spMkLst>
        </pc:spChg>
        <pc:spChg chg="del">
          <ac:chgData name="Andres Satizabal" userId="dd95d34c-96ea-48c0-9463-47f87a3366af" providerId="ADAL" clId="{61125DC2-6BC9-4440-BD9B-65C1B22438C3}" dt="2024-07-10T16:03:55.177" v="2435" actId="478"/>
          <ac:spMkLst>
            <pc:docMk/>
            <pc:sldMk cId="129924732" sldId="2147482728"/>
            <ac:spMk id="11" creationId="{87D752F0-3CF1-C9B3-D857-D45059A5A23D}"/>
          </ac:spMkLst>
        </pc:spChg>
        <pc:spChg chg="del">
          <ac:chgData name="Andres Satizabal" userId="dd95d34c-96ea-48c0-9463-47f87a3366af" providerId="ADAL" clId="{61125DC2-6BC9-4440-BD9B-65C1B22438C3}" dt="2024-07-10T16:03:55.177" v="2435" actId="478"/>
          <ac:spMkLst>
            <pc:docMk/>
            <pc:sldMk cId="129924732" sldId="2147482728"/>
            <ac:spMk id="12" creationId="{812CBC63-4DD1-7214-1238-013CF16B8FF5}"/>
          </ac:spMkLst>
        </pc:spChg>
        <pc:spChg chg="del">
          <ac:chgData name="Andres Satizabal" userId="dd95d34c-96ea-48c0-9463-47f87a3366af" providerId="ADAL" clId="{61125DC2-6BC9-4440-BD9B-65C1B22438C3}" dt="2024-07-10T16:03:55.177" v="2435" actId="478"/>
          <ac:spMkLst>
            <pc:docMk/>
            <pc:sldMk cId="129924732" sldId="2147482728"/>
            <ac:spMk id="13" creationId="{61B824D7-36BB-AEB9-C4FC-EDB243A957EB}"/>
          </ac:spMkLst>
        </pc:spChg>
        <pc:spChg chg="del">
          <ac:chgData name="Andres Satizabal" userId="dd95d34c-96ea-48c0-9463-47f87a3366af" providerId="ADAL" clId="{61125DC2-6BC9-4440-BD9B-65C1B22438C3}" dt="2024-07-10T16:03:55.177" v="2435" actId="478"/>
          <ac:spMkLst>
            <pc:docMk/>
            <pc:sldMk cId="129924732" sldId="2147482728"/>
            <ac:spMk id="14" creationId="{5AD22FC7-A787-810A-1465-56CC849AF86D}"/>
          </ac:spMkLst>
        </pc:spChg>
        <pc:spChg chg="del">
          <ac:chgData name="Andres Satizabal" userId="dd95d34c-96ea-48c0-9463-47f87a3366af" providerId="ADAL" clId="{61125DC2-6BC9-4440-BD9B-65C1B22438C3}" dt="2024-07-10T16:03:55.177" v="2435" actId="478"/>
          <ac:spMkLst>
            <pc:docMk/>
            <pc:sldMk cId="129924732" sldId="2147482728"/>
            <ac:spMk id="15" creationId="{3C9A98DF-EC13-89A7-7262-742B63252974}"/>
          </ac:spMkLst>
        </pc:spChg>
        <pc:spChg chg="del">
          <ac:chgData name="Andres Satizabal" userId="dd95d34c-96ea-48c0-9463-47f87a3366af" providerId="ADAL" clId="{61125DC2-6BC9-4440-BD9B-65C1B22438C3}" dt="2024-07-10T16:03:55.177" v="2435" actId="478"/>
          <ac:spMkLst>
            <pc:docMk/>
            <pc:sldMk cId="129924732" sldId="2147482728"/>
            <ac:spMk id="16" creationId="{55DFE3AD-21EF-3EAD-59A7-3CE426A9C317}"/>
          </ac:spMkLst>
        </pc:spChg>
        <pc:spChg chg="del">
          <ac:chgData name="Andres Satizabal" userId="dd95d34c-96ea-48c0-9463-47f87a3366af" providerId="ADAL" clId="{61125DC2-6BC9-4440-BD9B-65C1B22438C3}" dt="2024-07-10T16:03:55.177" v="2435" actId="478"/>
          <ac:spMkLst>
            <pc:docMk/>
            <pc:sldMk cId="129924732" sldId="2147482728"/>
            <ac:spMk id="17" creationId="{FF16D937-AF32-F540-FB9F-84BAA07A89E6}"/>
          </ac:spMkLst>
        </pc:spChg>
        <pc:spChg chg="del">
          <ac:chgData name="Andres Satizabal" userId="dd95d34c-96ea-48c0-9463-47f87a3366af" providerId="ADAL" clId="{61125DC2-6BC9-4440-BD9B-65C1B22438C3}" dt="2024-07-10T16:03:55.177" v="2435" actId="478"/>
          <ac:spMkLst>
            <pc:docMk/>
            <pc:sldMk cId="129924732" sldId="2147482728"/>
            <ac:spMk id="18" creationId="{B253931B-3A19-197A-865D-2CE7A1CB4B88}"/>
          </ac:spMkLst>
        </pc:spChg>
        <pc:spChg chg="del">
          <ac:chgData name="Andres Satizabal" userId="dd95d34c-96ea-48c0-9463-47f87a3366af" providerId="ADAL" clId="{61125DC2-6BC9-4440-BD9B-65C1B22438C3}" dt="2024-07-10T16:03:55.177" v="2435" actId="478"/>
          <ac:spMkLst>
            <pc:docMk/>
            <pc:sldMk cId="129924732" sldId="2147482728"/>
            <ac:spMk id="19" creationId="{6C744237-01E7-4598-FE29-FED8E954F021}"/>
          </ac:spMkLst>
        </pc:spChg>
        <pc:spChg chg="del">
          <ac:chgData name="Andres Satizabal" userId="dd95d34c-96ea-48c0-9463-47f87a3366af" providerId="ADAL" clId="{61125DC2-6BC9-4440-BD9B-65C1B22438C3}" dt="2024-07-10T16:03:55.177" v="2435" actId="478"/>
          <ac:spMkLst>
            <pc:docMk/>
            <pc:sldMk cId="129924732" sldId="2147482728"/>
            <ac:spMk id="20" creationId="{08681B31-8D13-200B-62FE-0B1B0BA1BB74}"/>
          </ac:spMkLst>
        </pc:spChg>
        <pc:spChg chg="del">
          <ac:chgData name="Andres Satizabal" userId="dd95d34c-96ea-48c0-9463-47f87a3366af" providerId="ADAL" clId="{61125DC2-6BC9-4440-BD9B-65C1B22438C3}" dt="2024-07-10T16:03:55.177" v="2435" actId="478"/>
          <ac:spMkLst>
            <pc:docMk/>
            <pc:sldMk cId="129924732" sldId="2147482728"/>
            <ac:spMk id="25" creationId="{8CAFEBF4-4362-B562-C8D6-87F9109A22EF}"/>
          </ac:spMkLst>
        </pc:spChg>
        <pc:spChg chg="del">
          <ac:chgData name="Andres Satizabal" userId="dd95d34c-96ea-48c0-9463-47f87a3366af" providerId="ADAL" clId="{61125DC2-6BC9-4440-BD9B-65C1B22438C3}" dt="2024-07-10T16:03:55.177" v="2435" actId="478"/>
          <ac:spMkLst>
            <pc:docMk/>
            <pc:sldMk cId="129924732" sldId="2147482728"/>
            <ac:spMk id="28" creationId="{8F8C7059-DAD2-EA49-DA29-ACEFC3483406}"/>
          </ac:spMkLst>
        </pc:spChg>
        <pc:spChg chg="del">
          <ac:chgData name="Andres Satizabal" userId="dd95d34c-96ea-48c0-9463-47f87a3366af" providerId="ADAL" clId="{61125DC2-6BC9-4440-BD9B-65C1B22438C3}" dt="2024-07-10T16:03:55.177" v="2435" actId="478"/>
          <ac:spMkLst>
            <pc:docMk/>
            <pc:sldMk cId="129924732" sldId="2147482728"/>
            <ac:spMk id="29" creationId="{FD18B9EF-AC56-1CA8-E5EB-276211C98948}"/>
          </ac:spMkLst>
        </pc:spChg>
        <pc:spChg chg="del">
          <ac:chgData name="Andres Satizabal" userId="dd95d34c-96ea-48c0-9463-47f87a3366af" providerId="ADAL" clId="{61125DC2-6BC9-4440-BD9B-65C1B22438C3}" dt="2024-07-10T16:03:55.177" v="2435" actId="478"/>
          <ac:spMkLst>
            <pc:docMk/>
            <pc:sldMk cId="129924732" sldId="2147482728"/>
            <ac:spMk id="31" creationId="{33BB797D-8D8E-14D8-5480-A0153265E544}"/>
          </ac:spMkLst>
        </pc:spChg>
        <pc:spChg chg="mod">
          <ac:chgData name="Andres Satizabal" userId="dd95d34c-96ea-48c0-9463-47f87a3366af" providerId="ADAL" clId="{61125DC2-6BC9-4440-BD9B-65C1B22438C3}" dt="2024-07-10T16:05:31.206" v="2491" actId="1036"/>
          <ac:spMkLst>
            <pc:docMk/>
            <pc:sldMk cId="129924732" sldId="2147482728"/>
            <ac:spMk id="32" creationId="{2DCC0689-1468-6D28-B348-71C5EB253FBC}"/>
          </ac:spMkLst>
        </pc:spChg>
        <pc:spChg chg="del">
          <ac:chgData name="Andres Satizabal" userId="dd95d34c-96ea-48c0-9463-47f87a3366af" providerId="ADAL" clId="{61125DC2-6BC9-4440-BD9B-65C1B22438C3}" dt="2024-07-10T16:03:55.177" v="2435" actId="478"/>
          <ac:spMkLst>
            <pc:docMk/>
            <pc:sldMk cId="129924732" sldId="2147482728"/>
            <ac:spMk id="34" creationId="{74A190BC-1255-A060-9F35-EF17D8511602}"/>
          </ac:spMkLst>
        </pc:spChg>
        <pc:spChg chg="del">
          <ac:chgData name="Andres Satizabal" userId="dd95d34c-96ea-48c0-9463-47f87a3366af" providerId="ADAL" clId="{61125DC2-6BC9-4440-BD9B-65C1B22438C3}" dt="2024-07-10T16:03:55.177" v="2435" actId="478"/>
          <ac:spMkLst>
            <pc:docMk/>
            <pc:sldMk cId="129924732" sldId="2147482728"/>
            <ac:spMk id="35" creationId="{2A0E9C8D-9FE4-98F6-285B-C0F0777998E7}"/>
          </ac:spMkLst>
        </pc:spChg>
        <pc:spChg chg="del">
          <ac:chgData name="Andres Satizabal" userId="dd95d34c-96ea-48c0-9463-47f87a3366af" providerId="ADAL" clId="{61125DC2-6BC9-4440-BD9B-65C1B22438C3}" dt="2024-07-10T16:03:55.177" v="2435" actId="478"/>
          <ac:spMkLst>
            <pc:docMk/>
            <pc:sldMk cId="129924732" sldId="2147482728"/>
            <ac:spMk id="37" creationId="{24D5DEB3-0CEE-3EAB-3DDA-E245E64481BE}"/>
          </ac:spMkLst>
        </pc:spChg>
        <pc:spChg chg="del">
          <ac:chgData name="Andres Satizabal" userId="dd95d34c-96ea-48c0-9463-47f87a3366af" providerId="ADAL" clId="{61125DC2-6BC9-4440-BD9B-65C1B22438C3}" dt="2024-07-10T16:03:55.177" v="2435" actId="478"/>
          <ac:spMkLst>
            <pc:docMk/>
            <pc:sldMk cId="129924732" sldId="2147482728"/>
            <ac:spMk id="38" creationId="{6942A9E1-5317-A180-5D52-58492D6782A3}"/>
          </ac:spMkLst>
        </pc:spChg>
        <pc:spChg chg="add mod">
          <ac:chgData name="Andres Satizabal" userId="dd95d34c-96ea-48c0-9463-47f87a3366af" providerId="ADAL" clId="{61125DC2-6BC9-4440-BD9B-65C1B22438C3}" dt="2024-07-10T16:04:53.608" v="2481"/>
          <ac:spMkLst>
            <pc:docMk/>
            <pc:sldMk cId="129924732" sldId="2147482728"/>
            <ac:spMk id="41" creationId="{C6C3891D-2485-6EF2-388E-8C0345D7D046}"/>
          </ac:spMkLst>
        </pc:spChg>
        <pc:spChg chg="add mod">
          <ac:chgData name="Andres Satizabal" userId="dd95d34c-96ea-48c0-9463-47f87a3366af" providerId="ADAL" clId="{61125DC2-6BC9-4440-BD9B-65C1B22438C3}" dt="2024-07-10T16:05:41.662" v="2492"/>
          <ac:spMkLst>
            <pc:docMk/>
            <pc:sldMk cId="129924732" sldId="2147482728"/>
            <ac:spMk id="42" creationId="{0E96FACE-5B4D-F7A8-E0E5-95E48F309C4E}"/>
          </ac:spMkLst>
        </pc:spChg>
        <pc:spChg chg="del">
          <ac:chgData name="Andres Satizabal" userId="dd95d34c-96ea-48c0-9463-47f87a3366af" providerId="ADAL" clId="{61125DC2-6BC9-4440-BD9B-65C1B22438C3}" dt="2024-07-10T16:03:55.177" v="2435" actId="478"/>
          <ac:spMkLst>
            <pc:docMk/>
            <pc:sldMk cId="129924732" sldId="2147482728"/>
            <ac:spMk id="55" creationId="{1512DA57-82E8-EE70-B488-0FCF01A2E043}"/>
          </ac:spMkLst>
        </pc:spChg>
        <pc:spChg chg="del">
          <ac:chgData name="Andres Satizabal" userId="dd95d34c-96ea-48c0-9463-47f87a3366af" providerId="ADAL" clId="{61125DC2-6BC9-4440-BD9B-65C1B22438C3}" dt="2024-07-10T16:03:55.177" v="2435" actId="478"/>
          <ac:spMkLst>
            <pc:docMk/>
            <pc:sldMk cId="129924732" sldId="2147482728"/>
            <ac:spMk id="60" creationId="{DF1FBF2E-5DB9-98E7-9320-7BB3376E6E34}"/>
          </ac:spMkLst>
        </pc:spChg>
        <pc:spChg chg="del">
          <ac:chgData name="Andres Satizabal" userId="dd95d34c-96ea-48c0-9463-47f87a3366af" providerId="ADAL" clId="{61125DC2-6BC9-4440-BD9B-65C1B22438C3}" dt="2024-07-10T16:03:55.177" v="2435" actId="478"/>
          <ac:spMkLst>
            <pc:docMk/>
            <pc:sldMk cId="129924732" sldId="2147482728"/>
            <ac:spMk id="66" creationId="{F4DAD719-9437-32AB-684D-09581F8C6633}"/>
          </ac:spMkLst>
        </pc:spChg>
        <pc:spChg chg="del">
          <ac:chgData name="Andres Satizabal" userId="dd95d34c-96ea-48c0-9463-47f87a3366af" providerId="ADAL" clId="{61125DC2-6BC9-4440-BD9B-65C1B22438C3}" dt="2024-07-10T16:03:55.177" v="2435" actId="478"/>
          <ac:spMkLst>
            <pc:docMk/>
            <pc:sldMk cId="129924732" sldId="2147482728"/>
            <ac:spMk id="67" creationId="{F3B48D95-4BFB-7308-E9AF-42D67588D4B5}"/>
          </ac:spMkLst>
        </pc:spChg>
        <pc:spChg chg="del">
          <ac:chgData name="Andres Satizabal" userId="dd95d34c-96ea-48c0-9463-47f87a3366af" providerId="ADAL" clId="{61125DC2-6BC9-4440-BD9B-65C1B22438C3}" dt="2024-07-10T16:03:55.177" v="2435" actId="478"/>
          <ac:spMkLst>
            <pc:docMk/>
            <pc:sldMk cId="129924732" sldId="2147482728"/>
            <ac:spMk id="68" creationId="{0958AB10-2E0B-0348-F247-95649869C41F}"/>
          </ac:spMkLst>
        </pc:spChg>
        <pc:spChg chg="del">
          <ac:chgData name="Andres Satizabal" userId="dd95d34c-96ea-48c0-9463-47f87a3366af" providerId="ADAL" clId="{61125DC2-6BC9-4440-BD9B-65C1B22438C3}" dt="2024-07-10T16:03:55.177" v="2435" actId="478"/>
          <ac:spMkLst>
            <pc:docMk/>
            <pc:sldMk cId="129924732" sldId="2147482728"/>
            <ac:spMk id="71" creationId="{AFC435F9-A49B-4D78-10B5-CD062DECE097}"/>
          </ac:spMkLst>
        </pc:spChg>
        <pc:spChg chg="del">
          <ac:chgData name="Andres Satizabal" userId="dd95d34c-96ea-48c0-9463-47f87a3366af" providerId="ADAL" clId="{61125DC2-6BC9-4440-BD9B-65C1B22438C3}" dt="2024-07-10T16:03:55.177" v="2435" actId="478"/>
          <ac:spMkLst>
            <pc:docMk/>
            <pc:sldMk cId="129924732" sldId="2147482728"/>
            <ac:spMk id="72" creationId="{5C3133D3-36E7-1327-05F6-B876D84C3DAE}"/>
          </ac:spMkLst>
        </pc:spChg>
        <pc:spChg chg="del">
          <ac:chgData name="Andres Satizabal" userId="dd95d34c-96ea-48c0-9463-47f87a3366af" providerId="ADAL" clId="{61125DC2-6BC9-4440-BD9B-65C1B22438C3}" dt="2024-07-10T16:03:55.177" v="2435" actId="478"/>
          <ac:spMkLst>
            <pc:docMk/>
            <pc:sldMk cId="129924732" sldId="2147482728"/>
            <ac:spMk id="73" creationId="{5EEC44A1-AA5A-1CE0-263F-8694717117AE}"/>
          </ac:spMkLst>
        </pc:spChg>
        <pc:spChg chg="del">
          <ac:chgData name="Andres Satizabal" userId="dd95d34c-96ea-48c0-9463-47f87a3366af" providerId="ADAL" clId="{61125DC2-6BC9-4440-BD9B-65C1B22438C3}" dt="2024-07-10T16:03:55.177" v="2435" actId="478"/>
          <ac:spMkLst>
            <pc:docMk/>
            <pc:sldMk cId="129924732" sldId="2147482728"/>
            <ac:spMk id="75" creationId="{DB276395-1B7F-4F17-06F5-A1BD55383BAE}"/>
          </ac:spMkLst>
        </pc:spChg>
        <pc:spChg chg="del">
          <ac:chgData name="Andres Satizabal" userId="dd95d34c-96ea-48c0-9463-47f87a3366af" providerId="ADAL" clId="{61125DC2-6BC9-4440-BD9B-65C1B22438C3}" dt="2024-07-10T16:03:55.177" v="2435" actId="478"/>
          <ac:spMkLst>
            <pc:docMk/>
            <pc:sldMk cId="129924732" sldId="2147482728"/>
            <ac:spMk id="80" creationId="{063766A4-058E-E775-DCAA-B91321A1E00B}"/>
          </ac:spMkLst>
        </pc:spChg>
        <pc:spChg chg="del">
          <ac:chgData name="Andres Satizabal" userId="dd95d34c-96ea-48c0-9463-47f87a3366af" providerId="ADAL" clId="{61125DC2-6BC9-4440-BD9B-65C1B22438C3}" dt="2024-07-10T16:03:55.177" v="2435" actId="478"/>
          <ac:spMkLst>
            <pc:docMk/>
            <pc:sldMk cId="129924732" sldId="2147482728"/>
            <ac:spMk id="81" creationId="{B19FA038-0CB7-A484-FAFF-8B6FA72A8D32}"/>
          </ac:spMkLst>
        </pc:spChg>
        <pc:spChg chg="del">
          <ac:chgData name="Andres Satizabal" userId="dd95d34c-96ea-48c0-9463-47f87a3366af" providerId="ADAL" clId="{61125DC2-6BC9-4440-BD9B-65C1B22438C3}" dt="2024-07-10T16:03:55.177" v="2435" actId="478"/>
          <ac:spMkLst>
            <pc:docMk/>
            <pc:sldMk cId="129924732" sldId="2147482728"/>
            <ac:spMk id="83" creationId="{35C6C7E7-F6F0-5359-76CC-594BC27EBEF6}"/>
          </ac:spMkLst>
        </pc:spChg>
        <pc:spChg chg="del">
          <ac:chgData name="Andres Satizabal" userId="dd95d34c-96ea-48c0-9463-47f87a3366af" providerId="ADAL" clId="{61125DC2-6BC9-4440-BD9B-65C1B22438C3}" dt="2024-07-10T16:03:55.177" v="2435" actId="478"/>
          <ac:spMkLst>
            <pc:docMk/>
            <pc:sldMk cId="129924732" sldId="2147482728"/>
            <ac:spMk id="93" creationId="{DCEB91FB-BC91-8254-1BC6-0D0BA0358D10}"/>
          </ac:spMkLst>
        </pc:spChg>
        <pc:spChg chg="del">
          <ac:chgData name="Andres Satizabal" userId="dd95d34c-96ea-48c0-9463-47f87a3366af" providerId="ADAL" clId="{61125DC2-6BC9-4440-BD9B-65C1B22438C3}" dt="2024-07-10T16:03:55.177" v="2435" actId="478"/>
          <ac:spMkLst>
            <pc:docMk/>
            <pc:sldMk cId="129924732" sldId="2147482728"/>
            <ac:spMk id="94" creationId="{3AA011C3-7220-5E6E-F946-D46806087A0A}"/>
          </ac:spMkLst>
        </pc:spChg>
        <pc:spChg chg="del">
          <ac:chgData name="Andres Satizabal" userId="dd95d34c-96ea-48c0-9463-47f87a3366af" providerId="ADAL" clId="{61125DC2-6BC9-4440-BD9B-65C1B22438C3}" dt="2024-07-10T16:03:57.479" v="2436" actId="478"/>
          <ac:spMkLst>
            <pc:docMk/>
            <pc:sldMk cId="129924732" sldId="2147482728"/>
            <ac:spMk id="95" creationId="{F6608611-8B70-AB34-F447-51960D0DE592}"/>
          </ac:spMkLst>
        </pc:spChg>
        <pc:spChg chg="del">
          <ac:chgData name="Andres Satizabal" userId="dd95d34c-96ea-48c0-9463-47f87a3366af" providerId="ADAL" clId="{61125DC2-6BC9-4440-BD9B-65C1B22438C3}" dt="2024-07-10T16:03:55.177" v="2435" actId="478"/>
          <ac:spMkLst>
            <pc:docMk/>
            <pc:sldMk cId="129924732" sldId="2147482728"/>
            <ac:spMk id="97" creationId="{8AC7D326-D251-C535-7FDC-4131A06F338A}"/>
          </ac:spMkLst>
        </pc:spChg>
        <pc:spChg chg="del">
          <ac:chgData name="Andres Satizabal" userId="dd95d34c-96ea-48c0-9463-47f87a3366af" providerId="ADAL" clId="{61125DC2-6BC9-4440-BD9B-65C1B22438C3}" dt="2024-07-10T16:03:57.479" v="2436" actId="478"/>
          <ac:spMkLst>
            <pc:docMk/>
            <pc:sldMk cId="129924732" sldId="2147482728"/>
            <ac:spMk id="98" creationId="{B05B5995-0E8C-8E4E-5E02-3831B0B67EE2}"/>
          </ac:spMkLst>
        </pc:spChg>
        <pc:spChg chg="del">
          <ac:chgData name="Andres Satizabal" userId="dd95d34c-96ea-48c0-9463-47f87a3366af" providerId="ADAL" clId="{61125DC2-6BC9-4440-BD9B-65C1B22438C3}" dt="2024-07-10T16:03:57.479" v="2436" actId="478"/>
          <ac:spMkLst>
            <pc:docMk/>
            <pc:sldMk cId="129924732" sldId="2147482728"/>
            <ac:spMk id="99" creationId="{E95AF8D2-E0A1-F359-0AED-DCD8E3017140}"/>
          </ac:spMkLst>
        </pc:spChg>
        <pc:grpChg chg="del">
          <ac:chgData name="Andres Satizabal" userId="dd95d34c-96ea-48c0-9463-47f87a3366af" providerId="ADAL" clId="{61125DC2-6BC9-4440-BD9B-65C1B22438C3}" dt="2024-07-10T16:03:55.177" v="2435" actId="478"/>
          <ac:grpSpMkLst>
            <pc:docMk/>
            <pc:sldMk cId="129924732" sldId="2147482728"/>
            <ac:grpSpMk id="9" creationId="{67BCDF63-8DD6-3E52-F2ED-9046B430A43D}"/>
          </ac:grpSpMkLst>
        </pc:grpChg>
        <pc:grpChg chg="del">
          <ac:chgData name="Andres Satizabal" userId="dd95d34c-96ea-48c0-9463-47f87a3366af" providerId="ADAL" clId="{61125DC2-6BC9-4440-BD9B-65C1B22438C3}" dt="2024-07-10T16:03:55.177" v="2435" actId="478"/>
          <ac:grpSpMkLst>
            <pc:docMk/>
            <pc:sldMk cId="129924732" sldId="2147482728"/>
            <ac:grpSpMk id="21" creationId="{1508DB71-02B4-C576-2795-7C7DBAA01DC2}"/>
          </ac:grpSpMkLst>
        </pc:grpChg>
        <pc:grpChg chg="add mod">
          <ac:chgData name="Andres Satizabal" userId="dd95d34c-96ea-48c0-9463-47f87a3366af" providerId="ADAL" clId="{61125DC2-6BC9-4440-BD9B-65C1B22438C3}" dt="2024-07-10T16:05:41.662" v="2492"/>
          <ac:grpSpMkLst>
            <pc:docMk/>
            <pc:sldMk cId="129924732" sldId="2147482728"/>
            <ac:grpSpMk id="43" creationId="{965386EE-3396-76AB-BA49-B2F9C3447B60}"/>
          </ac:grpSpMkLst>
        </pc:grpChg>
        <pc:picChg chg="del">
          <ac:chgData name="Andres Satizabal" userId="dd95d34c-96ea-48c0-9463-47f87a3366af" providerId="ADAL" clId="{61125DC2-6BC9-4440-BD9B-65C1B22438C3}" dt="2024-07-10T16:03:55.177" v="2435" actId="478"/>
          <ac:picMkLst>
            <pc:docMk/>
            <pc:sldMk cId="129924732" sldId="2147482728"/>
            <ac:picMk id="4" creationId="{0BA784D1-0D5C-1805-F40A-D64882BB91AD}"/>
          </ac:picMkLst>
        </pc:picChg>
        <pc:picChg chg="del">
          <ac:chgData name="Andres Satizabal" userId="dd95d34c-96ea-48c0-9463-47f87a3366af" providerId="ADAL" clId="{61125DC2-6BC9-4440-BD9B-65C1B22438C3}" dt="2024-07-10T16:03:55.177" v="2435" actId="478"/>
          <ac:picMkLst>
            <pc:docMk/>
            <pc:sldMk cId="129924732" sldId="2147482728"/>
            <ac:picMk id="6" creationId="{A14FFE84-2A1E-104A-0136-B33754A9B82D}"/>
          </ac:picMkLst>
        </pc:picChg>
        <pc:picChg chg="del">
          <ac:chgData name="Andres Satizabal" userId="dd95d34c-96ea-48c0-9463-47f87a3366af" providerId="ADAL" clId="{61125DC2-6BC9-4440-BD9B-65C1B22438C3}" dt="2024-07-10T16:03:55.177" v="2435" actId="478"/>
          <ac:picMkLst>
            <pc:docMk/>
            <pc:sldMk cId="129924732" sldId="2147482728"/>
            <ac:picMk id="8" creationId="{2EF574BD-6725-312A-FEBE-38D5AC2C3BD6}"/>
          </ac:picMkLst>
        </pc:picChg>
        <pc:picChg chg="del">
          <ac:chgData name="Andres Satizabal" userId="dd95d34c-96ea-48c0-9463-47f87a3366af" providerId="ADAL" clId="{61125DC2-6BC9-4440-BD9B-65C1B22438C3}" dt="2024-07-10T16:03:55.177" v="2435" actId="478"/>
          <ac:picMkLst>
            <pc:docMk/>
            <pc:sldMk cId="129924732" sldId="2147482728"/>
            <ac:picMk id="102" creationId="{80C09915-ED25-8E80-5FF5-857168297D87}"/>
          </ac:picMkLst>
        </pc:picChg>
        <pc:picChg chg="del">
          <ac:chgData name="Andres Satizabal" userId="dd95d34c-96ea-48c0-9463-47f87a3366af" providerId="ADAL" clId="{61125DC2-6BC9-4440-BD9B-65C1B22438C3}" dt="2024-07-10T16:03:55.177" v="2435" actId="478"/>
          <ac:picMkLst>
            <pc:docMk/>
            <pc:sldMk cId="129924732" sldId="2147482728"/>
            <ac:picMk id="103" creationId="{BDDCFB24-6BD0-1D97-FC04-68A401EF023B}"/>
          </ac:picMkLst>
        </pc:picChg>
        <pc:picChg chg="del">
          <ac:chgData name="Andres Satizabal" userId="dd95d34c-96ea-48c0-9463-47f87a3366af" providerId="ADAL" clId="{61125DC2-6BC9-4440-BD9B-65C1B22438C3}" dt="2024-07-10T16:03:55.177" v="2435" actId="478"/>
          <ac:picMkLst>
            <pc:docMk/>
            <pc:sldMk cId="129924732" sldId="2147482728"/>
            <ac:picMk id="105" creationId="{51D675D2-6127-21B0-366B-09F8815CD703}"/>
          </ac:picMkLst>
        </pc:picChg>
        <pc:picChg chg="del">
          <ac:chgData name="Andres Satizabal" userId="dd95d34c-96ea-48c0-9463-47f87a3366af" providerId="ADAL" clId="{61125DC2-6BC9-4440-BD9B-65C1B22438C3}" dt="2024-07-10T16:03:55.177" v="2435" actId="478"/>
          <ac:picMkLst>
            <pc:docMk/>
            <pc:sldMk cId="129924732" sldId="2147482728"/>
            <ac:picMk id="106" creationId="{42AB5B0B-FE2F-6F45-42BE-E3ACF62DCF29}"/>
          </ac:picMkLst>
        </pc:picChg>
        <pc:picChg chg="del">
          <ac:chgData name="Andres Satizabal" userId="dd95d34c-96ea-48c0-9463-47f87a3366af" providerId="ADAL" clId="{61125DC2-6BC9-4440-BD9B-65C1B22438C3}" dt="2024-07-10T16:03:55.177" v="2435" actId="478"/>
          <ac:picMkLst>
            <pc:docMk/>
            <pc:sldMk cId="129924732" sldId="2147482728"/>
            <ac:picMk id="108" creationId="{51F061D0-78DB-DF28-5C90-342F1872A9F0}"/>
          </ac:picMkLst>
        </pc:picChg>
        <pc:picChg chg="del">
          <ac:chgData name="Andres Satizabal" userId="dd95d34c-96ea-48c0-9463-47f87a3366af" providerId="ADAL" clId="{61125DC2-6BC9-4440-BD9B-65C1B22438C3}" dt="2024-07-10T16:03:55.177" v="2435" actId="478"/>
          <ac:picMkLst>
            <pc:docMk/>
            <pc:sldMk cId="129924732" sldId="2147482728"/>
            <ac:picMk id="110" creationId="{87E44D70-A101-2472-71CA-0384CF46BA0E}"/>
          </ac:picMkLst>
        </pc:picChg>
        <pc:cxnChg chg="del mod">
          <ac:chgData name="Andres Satizabal" userId="dd95d34c-96ea-48c0-9463-47f87a3366af" providerId="ADAL" clId="{61125DC2-6BC9-4440-BD9B-65C1B22438C3}" dt="2024-07-10T16:03:55.177" v="2435" actId="478"/>
          <ac:cxnSpMkLst>
            <pc:docMk/>
            <pc:sldMk cId="129924732" sldId="2147482728"/>
            <ac:cxnSpMk id="26" creationId="{833AC374-5E70-9FCC-6833-D5269AE8683B}"/>
          </ac:cxnSpMkLst>
        </pc:cxnChg>
        <pc:cxnChg chg="mod">
          <ac:chgData name="Andres Satizabal" userId="dd95d34c-96ea-48c0-9463-47f87a3366af" providerId="ADAL" clId="{61125DC2-6BC9-4440-BD9B-65C1B22438C3}" dt="2024-07-10T16:05:41.662" v="2492"/>
          <ac:cxnSpMkLst>
            <pc:docMk/>
            <pc:sldMk cId="129924732" sldId="2147482728"/>
            <ac:cxnSpMk id="44" creationId="{90D6D00E-CF24-0B52-AE90-028A4A079AA7}"/>
          </ac:cxnSpMkLst>
        </pc:cxnChg>
        <pc:cxnChg chg="mod">
          <ac:chgData name="Andres Satizabal" userId="dd95d34c-96ea-48c0-9463-47f87a3366af" providerId="ADAL" clId="{61125DC2-6BC9-4440-BD9B-65C1B22438C3}" dt="2024-07-10T16:05:41.662" v="2492"/>
          <ac:cxnSpMkLst>
            <pc:docMk/>
            <pc:sldMk cId="129924732" sldId="2147482728"/>
            <ac:cxnSpMk id="45" creationId="{6F496A44-AC55-4357-79ED-2D3CB19601CE}"/>
          </ac:cxnSpMkLst>
        </pc:cxnChg>
        <pc:cxnChg chg="del mod">
          <ac:chgData name="Andres Satizabal" userId="dd95d34c-96ea-48c0-9463-47f87a3366af" providerId="ADAL" clId="{61125DC2-6BC9-4440-BD9B-65C1B22438C3}" dt="2024-07-10T16:03:55.177" v="2435" actId="478"/>
          <ac:cxnSpMkLst>
            <pc:docMk/>
            <pc:sldMk cId="129924732" sldId="2147482728"/>
            <ac:cxnSpMk id="76" creationId="{1381AD58-D7DC-AD0F-B64C-04AEFD7686D1}"/>
          </ac:cxnSpMkLst>
        </pc:cxnChg>
        <pc:cxnChg chg="del mod">
          <ac:chgData name="Andres Satizabal" userId="dd95d34c-96ea-48c0-9463-47f87a3366af" providerId="ADAL" clId="{61125DC2-6BC9-4440-BD9B-65C1B22438C3}" dt="2024-07-10T16:03:55.177" v="2435" actId="478"/>
          <ac:cxnSpMkLst>
            <pc:docMk/>
            <pc:sldMk cId="129924732" sldId="2147482728"/>
            <ac:cxnSpMk id="84" creationId="{CEA140EA-231E-4A56-F922-091ED6FF9C06}"/>
          </ac:cxnSpMkLst>
        </pc:cxnChg>
      </pc:sldChg>
      <pc:sldChg chg="add del">
        <pc:chgData name="Andres Satizabal" userId="dd95d34c-96ea-48c0-9463-47f87a3366af" providerId="ADAL" clId="{61125DC2-6BC9-4440-BD9B-65C1B22438C3}" dt="2024-07-10T16:03:51.450" v="2433"/>
        <pc:sldMkLst>
          <pc:docMk/>
          <pc:sldMk cId="676644214" sldId="2147482728"/>
        </pc:sldMkLst>
      </pc:sldChg>
      <pc:sldChg chg="add del">
        <pc:chgData name="Andres Satizabal" userId="dd95d34c-96ea-48c0-9463-47f87a3366af" providerId="ADAL" clId="{61125DC2-6BC9-4440-BD9B-65C1B22438C3}" dt="2024-07-10T16:03:44.013" v="2431" actId="47"/>
        <pc:sldMkLst>
          <pc:docMk/>
          <pc:sldMk cId="1862765896" sldId="2147482728"/>
        </pc:sldMkLst>
      </pc:sldChg>
      <pc:sldChg chg="addSp delSp modSp add mod">
        <pc:chgData name="Andres Satizabal" userId="dd95d34c-96ea-48c0-9463-47f87a3366af" providerId="ADAL" clId="{61125DC2-6BC9-4440-BD9B-65C1B22438C3}" dt="2024-07-10T16:06:38.960" v="2546" actId="20577"/>
        <pc:sldMkLst>
          <pc:docMk/>
          <pc:sldMk cId="1184103657" sldId="2147482729"/>
        </pc:sldMkLst>
        <pc:spChg chg="mod">
          <ac:chgData name="Andres Satizabal" userId="dd95d34c-96ea-48c0-9463-47f87a3366af" providerId="ADAL" clId="{61125DC2-6BC9-4440-BD9B-65C1B22438C3}" dt="2024-07-10T16:06:38.960" v="2546" actId="20577"/>
          <ac:spMkLst>
            <pc:docMk/>
            <pc:sldMk cId="1184103657" sldId="2147482729"/>
            <ac:spMk id="32" creationId="{2DCC0689-1468-6D28-B348-71C5EB253FBC}"/>
          </ac:spMkLst>
        </pc:spChg>
        <pc:spChg chg="del">
          <ac:chgData name="Andres Satizabal" userId="dd95d34c-96ea-48c0-9463-47f87a3366af" providerId="ADAL" clId="{61125DC2-6BC9-4440-BD9B-65C1B22438C3}" dt="2024-07-10T16:06:05.660" v="2497" actId="478"/>
          <ac:spMkLst>
            <pc:docMk/>
            <pc:sldMk cId="1184103657" sldId="2147482729"/>
            <ac:spMk id="41" creationId="{C6C3891D-2485-6EF2-388E-8C0345D7D046}"/>
          </ac:spMkLst>
        </pc:spChg>
        <pc:graphicFrameChg chg="add mod modGraphic">
          <ac:chgData name="Andres Satizabal" userId="dd95d34c-96ea-48c0-9463-47f87a3366af" providerId="ADAL" clId="{61125DC2-6BC9-4440-BD9B-65C1B22438C3}" dt="2024-07-10T16:06:22.790" v="2529" actId="14100"/>
          <ac:graphicFrameMkLst>
            <pc:docMk/>
            <pc:sldMk cId="1184103657" sldId="2147482729"/>
            <ac:graphicFrameMk id="4" creationId="{044E93C0-E3FC-981D-C90F-84F6C233F8D8}"/>
          </ac:graphicFrameMkLst>
        </pc:graphicFrameChg>
      </pc:sldChg>
      <pc:sldMasterChg chg="del delSldLayout">
        <pc:chgData name="Andres Satizabal" userId="dd95d34c-96ea-48c0-9463-47f87a3366af" providerId="ADAL" clId="{61125DC2-6BC9-4440-BD9B-65C1B22438C3}" dt="2024-07-10T16:12:57.758" v="3059" actId="47"/>
        <pc:sldMasterMkLst>
          <pc:docMk/>
          <pc:sldMasterMk cId="2143877727" sldId="2147483773"/>
        </pc:sldMasterMkLst>
        <pc:sldLayoutChg chg="del">
          <pc:chgData name="Andres Satizabal" userId="dd95d34c-96ea-48c0-9463-47f87a3366af" providerId="ADAL" clId="{61125DC2-6BC9-4440-BD9B-65C1B22438C3}" dt="2024-07-10T16:12:57.758" v="3059" actId="47"/>
          <pc:sldLayoutMkLst>
            <pc:docMk/>
            <pc:sldMasterMk cId="2143877727" sldId="2147483773"/>
            <pc:sldLayoutMk cId="2669109179" sldId="2147483774"/>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2747554328" sldId="2147483775"/>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4216377419" sldId="2147483776"/>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2876919164" sldId="2147483777"/>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1948997316" sldId="2147483778"/>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2397150501" sldId="2147483779"/>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4289813747" sldId="2147483780"/>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1119375708" sldId="2147483781"/>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769383432" sldId="2147483782"/>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3463057386" sldId="2147483783"/>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860506695" sldId="2147483784"/>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299403151" sldId="2147483785"/>
          </pc:sldLayoutMkLst>
        </pc:sldLayoutChg>
        <pc:sldLayoutChg chg="del">
          <pc:chgData name="Andres Satizabal" userId="dd95d34c-96ea-48c0-9463-47f87a3366af" providerId="ADAL" clId="{61125DC2-6BC9-4440-BD9B-65C1B22438C3}" dt="2024-07-10T16:12:57.758" v="3059" actId="47"/>
          <pc:sldLayoutMkLst>
            <pc:docMk/>
            <pc:sldMasterMk cId="2143877727" sldId="2147483773"/>
            <pc:sldLayoutMk cId="1758465842" sldId="2147483786"/>
          </pc:sldLayoutMkLst>
        </pc:sldLayoutChg>
      </pc:sldMasterChg>
      <pc:sldMasterChg chg="delSldLayout">
        <pc:chgData name="Andres Satizabal" userId="dd95d34c-96ea-48c0-9463-47f87a3366af" providerId="ADAL" clId="{61125DC2-6BC9-4440-BD9B-65C1B22438C3}" dt="2024-07-10T16:05:57.926" v="2495" actId="47"/>
        <pc:sldMasterMkLst>
          <pc:docMk/>
          <pc:sldMasterMk cId="1180034722" sldId="2147483812"/>
        </pc:sldMasterMkLst>
        <pc:sldLayoutChg chg="del">
          <pc:chgData name="Andres Satizabal" userId="dd95d34c-96ea-48c0-9463-47f87a3366af" providerId="ADAL" clId="{61125DC2-6BC9-4440-BD9B-65C1B22438C3}" dt="2024-07-10T16:03:44.013" v="2431" actId="47"/>
          <pc:sldLayoutMkLst>
            <pc:docMk/>
            <pc:sldMasterMk cId="1180034722" sldId="2147483812"/>
            <pc:sldLayoutMk cId="811006741" sldId="2147483814"/>
          </pc:sldLayoutMkLst>
        </pc:sldLayoutChg>
        <pc:sldLayoutChg chg="del">
          <pc:chgData name="Andres Satizabal" userId="dd95d34c-96ea-48c0-9463-47f87a3366af" providerId="ADAL" clId="{61125DC2-6BC9-4440-BD9B-65C1B22438C3}" dt="2024-07-10T16:05:49.177" v="2493" actId="47"/>
          <pc:sldLayoutMkLst>
            <pc:docMk/>
            <pc:sldMasterMk cId="1180034722" sldId="2147483812"/>
            <pc:sldLayoutMk cId="4085113652" sldId="2147483839"/>
          </pc:sldLayoutMkLst>
        </pc:sldLayoutChg>
        <pc:sldLayoutChg chg="del">
          <pc:chgData name="Andres Satizabal" userId="dd95d34c-96ea-48c0-9463-47f87a3366af" providerId="ADAL" clId="{61125DC2-6BC9-4440-BD9B-65C1B22438C3}" dt="2024-07-10T16:05:57.926" v="2495" actId="47"/>
          <pc:sldLayoutMkLst>
            <pc:docMk/>
            <pc:sldMasterMk cId="1180034722" sldId="2147483812"/>
            <pc:sldLayoutMk cId="3804066084" sldId="214748397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otaimpactcompany1.sharepoint.com/sites/iotaimpact/Shared%20Documents/1.0%20-%20Research%20Consulting/18.%20Vector%20Solutions/7.%20TAM%20SAM%20Model/TAM%20SAM%20MODEL%20V5.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stacked"/>
        <c:varyColors val="0"/>
        <c:ser>
          <c:idx val="1"/>
          <c:order val="1"/>
          <c:tx>
            <c:strRef>
              <c:f>'2b. SAM heatmap by segment'!$AC$25</c:f>
              <c:strCache>
                <c:ptCount val="1"/>
                <c:pt idx="0">
                  <c:v>Revenue</c:v>
                </c:pt>
              </c:strCache>
            </c:strRef>
          </c:tx>
          <c:spPr>
            <a:solidFill>
              <a:schemeClr val="accent2"/>
            </a:solidFill>
            <a:ln>
              <a:noFill/>
            </a:ln>
            <a:effectLst/>
          </c:spPr>
          <c:invertIfNegative val="0"/>
          <c:dLbls>
            <c:dLbl>
              <c:idx val="6"/>
              <c:delete val="1"/>
              <c:extLst>
                <c:ext xmlns:c15="http://schemas.microsoft.com/office/drawing/2012/chart" uri="{CE6537A1-D6FC-4f65-9D91-7224C49458BB}"/>
                <c:ext xmlns:c16="http://schemas.microsoft.com/office/drawing/2014/chart" uri="{C3380CC4-5D6E-409C-BE32-E72D297353CC}">
                  <c16:uniqueId val="{00000001-C1F8-4A4A-B59C-0D5ED41A665E}"/>
                </c:ext>
              </c:extLst>
            </c:dLbl>
            <c:dLbl>
              <c:idx val="7"/>
              <c:delete val="1"/>
              <c:extLst>
                <c:ext xmlns:c15="http://schemas.microsoft.com/office/drawing/2012/chart" uri="{CE6537A1-D6FC-4f65-9D91-7224C49458BB}"/>
                <c:ext xmlns:c16="http://schemas.microsoft.com/office/drawing/2014/chart" uri="{C3380CC4-5D6E-409C-BE32-E72D297353CC}">
                  <c16:uniqueId val="{00000002-C1F8-4A4A-B59C-0D5ED41A665E}"/>
                </c:ext>
              </c:extLst>
            </c:dLbl>
            <c:dLbl>
              <c:idx val="8"/>
              <c:delete val="1"/>
              <c:extLst>
                <c:ext xmlns:c15="http://schemas.microsoft.com/office/drawing/2012/chart" uri="{CE6537A1-D6FC-4f65-9D91-7224C49458BB}"/>
                <c:ext xmlns:c16="http://schemas.microsoft.com/office/drawing/2014/chart" uri="{C3380CC4-5D6E-409C-BE32-E72D297353CC}">
                  <c16:uniqueId val="{00000003-C1F8-4A4A-B59C-0D5ED41A665E}"/>
                </c:ext>
              </c:extLst>
            </c:dLbl>
            <c:dLbl>
              <c:idx val="9"/>
              <c:delete val="1"/>
              <c:extLst>
                <c:ext xmlns:c15="http://schemas.microsoft.com/office/drawing/2012/chart" uri="{CE6537A1-D6FC-4f65-9D91-7224C49458BB}"/>
                <c:ext xmlns:c16="http://schemas.microsoft.com/office/drawing/2014/chart" uri="{C3380CC4-5D6E-409C-BE32-E72D297353CC}">
                  <c16:uniqueId val="{00000004-C1F8-4A4A-B59C-0D5ED41A665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2b. SAM heatmap by segment'!$Z$26:$AA$35</c:f>
              <c:multiLvlStrCache>
                <c:ptCount val="10"/>
                <c:lvl>
                  <c:pt idx="0">
                    <c:v>Less than 50</c:v>
                  </c:pt>
                  <c:pt idx="1">
                    <c:v>50-250</c:v>
                  </c:pt>
                  <c:pt idx="2">
                    <c:v>250-1000</c:v>
                  </c:pt>
                  <c:pt idx="3">
                    <c:v>More than 1000</c:v>
                  </c:pt>
                  <c:pt idx="4">
                    <c:v>Less than 50</c:v>
                  </c:pt>
                  <c:pt idx="5">
                    <c:v>50-250</c:v>
                  </c:pt>
                  <c:pt idx="6">
                    <c:v>250-1000</c:v>
                  </c:pt>
                  <c:pt idx="7">
                    <c:v>More than 1000</c:v>
                  </c:pt>
                  <c:pt idx="8">
                    <c:v>50-250</c:v>
                  </c:pt>
                  <c:pt idx="9">
                    <c:v>250-1000</c:v>
                  </c:pt>
                </c:lvl>
                <c:lvl>
                  <c:pt idx="0">
                    <c:v>Career</c:v>
                  </c:pt>
                  <c:pt idx="4">
                    <c:v>Mostly Volunteer</c:v>
                  </c:pt>
                  <c:pt idx="8">
                    <c:v>Volunteer</c:v>
                  </c:pt>
                </c:lvl>
              </c:multiLvlStrCache>
            </c:multiLvlStrRef>
          </c:cat>
          <c:val>
            <c:numRef>
              <c:f>'2b. SAM heatmap by segment'!$AC$26:$AC$35</c:f>
              <c:numCache>
                <c:formatCode>0.0,,\M</c:formatCode>
                <c:ptCount val="10"/>
                <c:pt idx="0">
                  <c:v>4427400.477</c:v>
                </c:pt>
                <c:pt idx="1">
                  <c:v>11684128.033599995</c:v>
                </c:pt>
                <c:pt idx="2">
                  <c:v>4980026.5273999991</c:v>
                </c:pt>
                <c:pt idx="3">
                  <c:v>3017501.92</c:v>
                </c:pt>
                <c:pt idx="4">
                  <c:v>3059617.2297000005</c:v>
                </c:pt>
                <c:pt idx="5">
                  <c:v>2324171.0775000001</c:v>
                </c:pt>
                <c:pt idx="6">
                  <c:v>245444.15</c:v>
                </c:pt>
                <c:pt idx="7">
                  <c:v>109974.5</c:v>
                </c:pt>
                <c:pt idx="8">
                  <c:v>1017348.6159999999</c:v>
                </c:pt>
                <c:pt idx="9">
                  <c:v>62062.049999999996</c:v>
                </c:pt>
              </c:numCache>
            </c:numRef>
          </c:val>
          <c:extLst>
            <c:ext xmlns:c16="http://schemas.microsoft.com/office/drawing/2014/chart" uri="{C3380CC4-5D6E-409C-BE32-E72D297353CC}">
              <c16:uniqueId val="{00000000-16D7-4151-96B2-1A8DE51D8156}"/>
            </c:ext>
          </c:extLst>
        </c:ser>
        <c:ser>
          <c:idx val="2"/>
          <c:order val="2"/>
          <c:tx>
            <c:strRef>
              <c:f>'2b. SAM heatmap by segment'!$AD$25</c:f>
              <c:strCache>
                <c:ptCount val="1"/>
                <c:pt idx="0">
                  <c:v>Opportunity</c:v>
                </c:pt>
              </c:strCache>
            </c:strRef>
          </c:tx>
          <c:spPr>
            <a:solidFill>
              <a:schemeClr val="accent2">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2b. SAM heatmap by segment'!$Z$26:$AA$35</c:f>
              <c:multiLvlStrCache>
                <c:ptCount val="10"/>
                <c:lvl>
                  <c:pt idx="0">
                    <c:v>Less than 50</c:v>
                  </c:pt>
                  <c:pt idx="1">
                    <c:v>50-250</c:v>
                  </c:pt>
                  <c:pt idx="2">
                    <c:v>250-1000</c:v>
                  </c:pt>
                  <c:pt idx="3">
                    <c:v>More than 1000</c:v>
                  </c:pt>
                  <c:pt idx="4">
                    <c:v>Less than 50</c:v>
                  </c:pt>
                  <c:pt idx="5">
                    <c:v>50-250</c:v>
                  </c:pt>
                  <c:pt idx="6">
                    <c:v>250-1000</c:v>
                  </c:pt>
                  <c:pt idx="7">
                    <c:v>More than 1000</c:v>
                  </c:pt>
                  <c:pt idx="8">
                    <c:v>50-250</c:v>
                  </c:pt>
                  <c:pt idx="9">
                    <c:v>250-1000</c:v>
                  </c:pt>
                </c:lvl>
                <c:lvl>
                  <c:pt idx="0">
                    <c:v>Career</c:v>
                  </c:pt>
                  <c:pt idx="4">
                    <c:v>Mostly Volunteer</c:v>
                  </c:pt>
                  <c:pt idx="8">
                    <c:v>Volunteer</c:v>
                  </c:pt>
                </c:lvl>
              </c:multiLvlStrCache>
            </c:multiLvlStrRef>
          </c:cat>
          <c:val>
            <c:numRef>
              <c:f>'2b. SAM heatmap by segment'!$AD$26:$AD$35</c:f>
              <c:numCache>
                <c:formatCode>0.0,,\M</c:formatCode>
                <c:ptCount val="10"/>
                <c:pt idx="0">
                  <c:v>15316796.839652332</c:v>
                </c:pt>
                <c:pt idx="1">
                  <c:v>25295952.073400132</c:v>
                </c:pt>
                <c:pt idx="2">
                  <c:v>14244068.392114468</c:v>
                </c:pt>
                <c:pt idx="3">
                  <c:v>14568025.925561441</c:v>
                </c:pt>
                <c:pt idx="4">
                  <c:v>18893933.934683014</c:v>
                </c:pt>
                <c:pt idx="5">
                  <c:v>10805785.320336878</c:v>
                </c:pt>
                <c:pt idx="6">
                  <c:v>1518824.5662094697</c:v>
                </c:pt>
                <c:pt idx="7">
                  <c:v>2241300.8553592181</c:v>
                </c:pt>
                <c:pt idx="8">
                  <c:v>18215502.686021447</c:v>
                </c:pt>
                <c:pt idx="9">
                  <c:v>1492915.6302877411</c:v>
                </c:pt>
              </c:numCache>
            </c:numRef>
          </c:val>
          <c:extLst>
            <c:ext xmlns:c16="http://schemas.microsoft.com/office/drawing/2014/chart" uri="{C3380CC4-5D6E-409C-BE32-E72D297353CC}">
              <c16:uniqueId val="{00000001-16D7-4151-96B2-1A8DE51D8156}"/>
            </c:ext>
          </c:extLst>
        </c:ser>
        <c:dLbls>
          <c:dLblPos val="ctr"/>
          <c:showLegendKey val="0"/>
          <c:showVal val="1"/>
          <c:showCatName val="0"/>
          <c:showSerName val="0"/>
          <c:showPercent val="0"/>
          <c:showBubbleSize val="0"/>
        </c:dLbls>
        <c:gapWidth val="58"/>
        <c:overlap val="100"/>
        <c:axId val="1477384335"/>
        <c:axId val="1477384815"/>
      </c:barChart>
      <c:lineChart>
        <c:grouping val="standard"/>
        <c:varyColors val="0"/>
        <c:ser>
          <c:idx val="0"/>
          <c:order val="0"/>
          <c:tx>
            <c:strRef>
              <c:f>'2b. SAM heatmap by segment'!$AB$25</c:f>
              <c:strCache>
                <c:ptCount val="1"/>
                <c:pt idx="0">
                  <c:v>SAM</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j-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2b. SAM heatmap by segment'!$Z$26:$AA$35</c:f>
              <c:multiLvlStrCache>
                <c:ptCount val="10"/>
                <c:lvl>
                  <c:pt idx="0">
                    <c:v>Less than 50</c:v>
                  </c:pt>
                  <c:pt idx="1">
                    <c:v>50-250</c:v>
                  </c:pt>
                  <c:pt idx="2">
                    <c:v>250-1000</c:v>
                  </c:pt>
                  <c:pt idx="3">
                    <c:v>More than 1000</c:v>
                  </c:pt>
                  <c:pt idx="4">
                    <c:v>Less than 50</c:v>
                  </c:pt>
                  <c:pt idx="5">
                    <c:v>50-250</c:v>
                  </c:pt>
                  <c:pt idx="6">
                    <c:v>250-1000</c:v>
                  </c:pt>
                  <c:pt idx="7">
                    <c:v>More than 1000</c:v>
                  </c:pt>
                  <c:pt idx="8">
                    <c:v>50-250</c:v>
                  </c:pt>
                  <c:pt idx="9">
                    <c:v>250-1000</c:v>
                  </c:pt>
                </c:lvl>
                <c:lvl>
                  <c:pt idx="0">
                    <c:v>Career</c:v>
                  </c:pt>
                  <c:pt idx="4">
                    <c:v>Mostly Volunteer</c:v>
                  </c:pt>
                  <c:pt idx="8">
                    <c:v>Volunteer</c:v>
                  </c:pt>
                </c:lvl>
              </c:multiLvlStrCache>
            </c:multiLvlStrRef>
          </c:cat>
          <c:val>
            <c:numRef>
              <c:f>'2b. SAM heatmap by segment'!$AB$26:$AB$35</c:f>
              <c:numCache>
                <c:formatCode>0.0,,\M</c:formatCode>
                <c:ptCount val="10"/>
                <c:pt idx="0">
                  <c:v>19744197.316652332</c:v>
                </c:pt>
                <c:pt idx="1">
                  <c:v>36980080.107000127</c:v>
                </c:pt>
                <c:pt idx="2">
                  <c:v>19224094.919514466</c:v>
                </c:pt>
                <c:pt idx="3">
                  <c:v>17585527.845561441</c:v>
                </c:pt>
                <c:pt idx="4">
                  <c:v>21953551.164383013</c:v>
                </c:pt>
                <c:pt idx="5">
                  <c:v>13129956.397836879</c:v>
                </c:pt>
                <c:pt idx="6">
                  <c:v>1764268.7162094696</c:v>
                </c:pt>
                <c:pt idx="7">
                  <c:v>2351275.3553592181</c:v>
                </c:pt>
                <c:pt idx="8">
                  <c:v>19232851.302021448</c:v>
                </c:pt>
                <c:pt idx="9">
                  <c:v>1554977.6802877411</c:v>
                </c:pt>
              </c:numCache>
            </c:numRef>
          </c:val>
          <c:smooth val="0"/>
          <c:extLst>
            <c:ext xmlns:c16="http://schemas.microsoft.com/office/drawing/2014/chart" uri="{C3380CC4-5D6E-409C-BE32-E72D297353CC}">
              <c16:uniqueId val="{00000002-16D7-4151-96B2-1A8DE51D8156}"/>
            </c:ext>
          </c:extLst>
        </c:ser>
        <c:dLbls>
          <c:dLblPos val="ctr"/>
          <c:showLegendKey val="0"/>
          <c:showVal val="1"/>
          <c:showCatName val="0"/>
          <c:showSerName val="0"/>
          <c:showPercent val="0"/>
          <c:showBubbleSize val="0"/>
        </c:dLbls>
        <c:marker val="1"/>
        <c:smooth val="0"/>
        <c:axId val="1477384335"/>
        <c:axId val="1477384815"/>
      </c:lineChart>
      <c:catAx>
        <c:axId val="1477384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7384815"/>
        <c:crosses val="autoZero"/>
        <c:auto val="1"/>
        <c:lblAlgn val="ctr"/>
        <c:lblOffset val="100"/>
        <c:noMultiLvlLbl val="0"/>
      </c:catAx>
      <c:valAx>
        <c:axId val="1477384815"/>
        <c:scaling>
          <c:orientation val="minMax"/>
        </c:scaling>
        <c:delete val="0"/>
        <c:axPos val="l"/>
        <c:majorGridlines>
          <c:spPr>
            <a:ln w="9525" cap="flat" cmpd="sng" algn="ctr">
              <a:solidFill>
                <a:schemeClr val="tx1">
                  <a:lumMod val="15000"/>
                  <a:lumOff val="85000"/>
                </a:schemeClr>
              </a:solidFill>
              <a:round/>
            </a:ln>
            <a:effectLst/>
          </c:spPr>
        </c:majorGridlines>
        <c:numFmt formatCode="0.0,,\M"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7384335"/>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CF54_A840E54B.xml><?xml version="1.0" encoding="utf-8"?>
<p188:cmLst xmlns:a="http://schemas.openxmlformats.org/drawingml/2006/main" xmlns:r="http://schemas.openxmlformats.org/officeDocument/2006/relationships" xmlns:p188="http://schemas.microsoft.com/office/powerpoint/2018/8/main">
  <p188:cm id="{A8DF97C4-A682-4F3B-8872-F55A0C99A582}" authorId="{CC6AEBC9-D311-F1FC-8187-020122B6BF4C}" status="resolved" created="2024-06-14T16:26:53.990">
    <pc:sldMkLst xmlns:pc="http://schemas.microsoft.com/office/powerpoint/2013/main/command">
      <pc:docMk/>
      <pc:sldMk cId="2822825291" sldId="2147471188"/>
    </pc:sldMkLst>
    <p188:replyLst>
      <p188:reply id="{E95AA49D-2E55-4A91-9C56-E75B1C2F3E88}" authorId="{CC6AEBC9-D311-F1FC-8187-020122B6BF4C}" created="2024-06-14T16:27:03.646">
        <p188:txBody>
          <a:bodyPr/>
          <a:lstStyle/>
          <a:p>
            <a:r>
              <a:rPr lang="en-US"/>
              <a:t>Eso va en la seccion por que IOTA</a:t>
            </a:r>
          </a:p>
        </p188:txBody>
      </p188:reply>
    </p188:replyLst>
    <p188:txBody>
      <a:bodyPr/>
      <a:lstStyle/>
      <a:p>
        <a:r>
          <a:rPr lang="en-US"/>
          <a:t>POngamos una pagina con ejemplos de business plans que hemos hecho en el pasado como individuos y como equipo. Ejemplo: internacionalizacion Grupo Vida. Ejemplo, ofrecer seguros a traves de canal bancario. Ejemplo, business plan de tiendas retail. Ejemplo, business case de ofrecer servicios adyacentes a small and medium businesses en finanzas en USA. Ejemplo, business case de ofrecer una solucion de tecnologia educativa a maestros por parte de un publisher. Ejemplo business case de crear una empresa de logistica por parte de multiples empresas de alimentos. Ejemplo, business case para priorizacion de iniciativas y adyacencias para un conglomerado en Ecuador. Ejemplo, plan para ofrecer distribucion de servicios de publicidad en Internet para clientes B2B por parte de un publisher. Si la crean y ponen espacio para que yo llene detalles lo hago. </a:t>
        </a:r>
      </a:p>
    </p188:txBody>
  </p188:cm>
</p188:cmLst>
</file>

<file path=ppt/comments/modernComment_7FFFDF19_24A3850.xml><?xml version="1.0" encoding="utf-8"?>
<p188:cmLst xmlns:a="http://schemas.openxmlformats.org/drawingml/2006/main" xmlns:r="http://schemas.openxmlformats.org/officeDocument/2006/relationships" xmlns:p188="http://schemas.microsoft.com/office/powerpoint/2018/8/main">
  <p188:cm id="{E50CDC8B-0E3F-4BA2-84AB-3898B1463A05}" authorId="{03F214B3-7CEC-38AE-4316-0F5FCDD45928}" status="resolved" created="2024-05-29T17:16:14.234">
    <pc:sldMkLst xmlns:pc="http://schemas.microsoft.com/office/powerpoint/2013/main/command">
      <pc:docMk/>
      <pc:sldMk cId="38418512" sldId="2147475225"/>
    </pc:sldMkLst>
    <p188:txBody>
      <a:bodyPr/>
      <a:lstStyle/>
      <a:p>
        <a:r>
          <a:rPr lang="es-CO"/>
          <a:t>[@Luis Amortegui] donde dice Project Managemnt falto el icono o dibujito que pusiste en las otras dos secciones porfa</a:t>
        </a:r>
      </a:p>
    </p188:txBody>
  </p188:cm>
  <p188:cm id="{BF68F9BF-9F42-420B-9E7B-B2DA8A8A1200}" authorId="{CC6AEBC9-D311-F1FC-8187-020122B6BF4C}" created="2024-06-14T16:14:28.553">
    <pc:sldMkLst xmlns:pc="http://schemas.microsoft.com/office/powerpoint/2013/main/command">
      <pc:docMk/>
      <pc:sldMk cId="38418512" sldId="2147475225"/>
    </pc:sldMkLst>
    <p188:txBody>
      <a:bodyPr/>
      <a:lstStyle/>
      <a:p>
        <a:r>
          <a:rPr lang="en-US"/>
          <a:t>Agregar cuantos analistas y encuestadores para fase 1, cuantos para fase 2, etc. </a:t>
        </a:r>
      </a:p>
    </p188:txBody>
  </p188:cm>
  <p188:cm id="{31BC7BD7-40EB-4DF4-9530-4C719F30E279}" authorId="{CC6AEBC9-D311-F1FC-8187-020122B6BF4C}" created="2024-06-14T16:15:00.695">
    <ac:deMkLst xmlns:ac="http://schemas.microsoft.com/office/drawing/2013/main/command">
      <pc:docMk xmlns:pc="http://schemas.microsoft.com/office/powerpoint/2013/main/command"/>
      <pc:sldMk xmlns:pc="http://schemas.microsoft.com/office/powerpoint/2013/main/command" cId="38418512" sldId="2147475225"/>
      <ac:spMk id="12" creationId="{F0AE4DC1-3BF2-6979-2952-E021BB352DA3}"/>
    </ac:deMkLst>
    <p188:txBody>
      <a:bodyPr/>
      <a:lstStyle/>
      <a:p>
        <a:r>
          <a:rPr lang="en-US"/>
          <a:t>Depende de cuando lo compren pero podria ser Gabriela o Valentina (de pronto sale un proyecto antes para Gabriela).</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F31C6B-FA21-4862-BCF8-6A4910FE197C}" type="datetimeFigureOut">
              <a:rPr lang="es-CO" smtClean="0"/>
              <a:t>10/07/2024</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CE1D32-EBFF-4AEB-9D03-59C59EF5D8BE}" type="slidenum">
              <a:rPr lang="es-CO" smtClean="0"/>
              <a:t>‹#›</a:t>
            </a:fld>
            <a:endParaRPr lang="es-CO"/>
          </a:p>
        </p:txBody>
      </p:sp>
    </p:spTree>
    <p:extLst>
      <p:ext uri="{BB962C8B-B14F-4D97-AF65-F5344CB8AC3E}">
        <p14:creationId xmlns:p14="http://schemas.microsoft.com/office/powerpoint/2010/main" val="25112138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CA"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2E0EA-04AD-4B76-8EB3-4440B3DAD2A4}"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983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79A1B-59EC-4E8C-A38D-16CDA2AE9182}" type="slidenum">
              <a:rPr kumimoji="0" lang="es-C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50970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79A1B-59EC-4E8C-A38D-16CDA2AE9182}" type="slidenum">
              <a:rPr kumimoji="0" lang="es-C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C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13957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CA"/>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2E0EA-04AD-4B76-8EB3-4440B3DAD2A4}"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8326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CF5E5-D2DD-4DB4-D73E-AFF19BD442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B67877-A7CC-AE10-1366-B5B89E4F4F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194623-4598-431E-808A-82A039B28E4F}"/>
              </a:ext>
            </a:extLst>
          </p:cNvPr>
          <p:cNvSpPr>
            <a:spLocks noGrp="1"/>
          </p:cNvSpPr>
          <p:nvPr>
            <p:ph type="body" idx="1"/>
          </p:nvPr>
        </p:nvSpPr>
        <p:spPr/>
        <p:txBody>
          <a:bodyPr/>
          <a:lstStyle/>
          <a:p>
            <a:r>
              <a:rPr lang="es-CO" dirty="0"/>
              <a:t>8</a:t>
            </a:r>
          </a:p>
        </p:txBody>
      </p:sp>
      <p:sp>
        <p:nvSpPr>
          <p:cNvPr id="4" name="Slide Number Placeholder 3">
            <a:extLst>
              <a:ext uri="{FF2B5EF4-FFF2-40B4-BE49-F238E27FC236}">
                <a16:creationId xmlns:a16="http://schemas.microsoft.com/office/drawing/2014/main" id="{F37E1D15-09AB-0390-C38D-9C5C195194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DA9C84-37D9-42F2-A122-25195E70602F}"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C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074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CA"/>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2E0EA-04AD-4B76-8EB3-4440B3DAD2A4}"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2289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CA"/>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2E0EA-04AD-4B76-8EB3-4440B3DAD2A4}"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432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CA"/>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2E0EA-04AD-4B76-8EB3-4440B3DAD2A4}"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0004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54B2-E77A-4E9C-A219-26A704632DD3}" type="slidenum">
              <a:rPr kumimoji="0" lang="es-419"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419"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301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54B2-E77A-4E9C-A219-26A704632DD3}" type="slidenum">
              <a:rPr kumimoji="0" lang="es-419"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419"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183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54B2-E77A-4E9C-A219-26A704632DD3}" type="slidenum">
              <a:rPr kumimoji="0" lang="es-419"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419"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0799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5579A1B-59EC-4E8C-A38D-16CDA2AE9182}" type="slidenum">
              <a:rPr lang="en-US" smtClean="0"/>
              <a:pPr/>
              <a:t>11</a:t>
            </a:fld>
            <a:endParaRPr lang="en-US"/>
          </a:p>
        </p:txBody>
      </p:sp>
    </p:spTree>
    <p:extLst>
      <p:ext uri="{BB962C8B-B14F-4D97-AF65-F5344CB8AC3E}">
        <p14:creationId xmlns:p14="http://schemas.microsoft.com/office/powerpoint/2010/main" val="2610453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54B2-E77A-4E9C-A219-26A704632DD3}" type="slidenum">
              <a:rPr kumimoji="0" lang="es-419"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419"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598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75579A1B-59EC-4E8C-A38D-16CDA2AE9182}" type="slidenum">
              <a:rPr lang="es-CO" smtClean="0"/>
              <a:pPr/>
              <a:t>15</a:t>
            </a:fld>
            <a:endParaRPr lang="es-CO"/>
          </a:p>
        </p:txBody>
      </p:sp>
    </p:spTree>
    <p:extLst>
      <p:ext uri="{BB962C8B-B14F-4D97-AF65-F5344CB8AC3E}">
        <p14:creationId xmlns:p14="http://schemas.microsoft.com/office/powerpoint/2010/main" val="36872927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54B2-E77A-4E9C-A219-26A704632DD3}" type="slidenum">
              <a:rPr kumimoji="0" lang="es-419"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419"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598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5.xml"/><Relationship Id="rId6" Type="http://schemas.openxmlformats.org/officeDocument/2006/relationships/image" Target="../media/image14.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62.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6.xml"/><Relationship Id="rId6" Type="http://schemas.openxmlformats.org/officeDocument/2006/relationships/image" Target="../media/image1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62.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63.png"/><Relationship Id="rId4" Type="http://schemas.openxmlformats.org/officeDocument/2006/relationships/hyperlink" Target="http://www.iotaimpact.com/" TargetMode="Externa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7.xml"/><Relationship Id="rId6" Type="http://schemas.openxmlformats.org/officeDocument/2006/relationships/image" Target="../media/image14.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9.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9.xml"/><Relationship Id="rId4" Type="http://schemas.openxmlformats.org/officeDocument/2006/relationships/image" Target="../media/image62.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10.xml"/><Relationship Id="rId4" Type="http://schemas.openxmlformats.org/officeDocument/2006/relationships/image" Target="../media/image62.emf"/></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2.xml"/><Relationship Id="rId6" Type="http://schemas.openxmlformats.org/officeDocument/2006/relationships/image" Target="../media/image14.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8.xml"/><Relationship Id="rId6" Type="http://schemas.openxmlformats.org/officeDocument/2006/relationships/image" Target="../media/image14.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9.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8.xml"/><Relationship Id="rId1" Type="http://schemas.openxmlformats.org/officeDocument/2006/relationships/tags" Target="../tags/tag11.xml"/><Relationship Id="rId4" Type="http://schemas.openxmlformats.org/officeDocument/2006/relationships/image" Target="../media/image62.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8.xml"/><Relationship Id="rId1" Type="http://schemas.openxmlformats.org/officeDocument/2006/relationships/tags" Target="../tags/tag12.xml"/><Relationship Id="rId4" Type="http://schemas.openxmlformats.org/officeDocument/2006/relationships/image" Target="../media/image6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0.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99.xml.rels><?xml version="1.0" encoding="UTF-8" standalone="yes"?>
<Relationships xmlns="http://schemas.openxmlformats.org/package/2006/relationships"><Relationship Id="rId3" Type="http://schemas.openxmlformats.org/officeDocument/2006/relationships/hyperlink" Target="http://www.iotaimpact.com/" TargetMode="External"/><Relationship Id="rId2" Type="http://schemas.openxmlformats.org/officeDocument/2006/relationships/image" Target="../media/image71.png"/><Relationship Id="rId1" Type="http://schemas.openxmlformats.org/officeDocument/2006/relationships/slideMaster" Target="../slideMasters/slideMaster9.xml"/><Relationship Id="rId5" Type="http://schemas.openxmlformats.org/officeDocument/2006/relationships/image" Target="../media/image72.png"/><Relationship Id="rId4" Type="http://schemas.openxmlformats.org/officeDocument/2006/relationships/hyperlink" Target="mailto:andres@iotaimpact.com"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media/image72.png"/><Relationship Id="rId4" Type="http://schemas.openxmlformats.org/officeDocument/2006/relationships/hyperlink" Target="http://www.iotaimpact.com/" TargetMode="External"/></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73.png"/><Relationship Id="rId1" Type="http://schemas.openxmlformats.org/officeDocument/2006/relationships/slideMaster" Target="../slideMasters/slideMaster9.xml"/><Relationship Id="rId6" Type="http://schemas.microsoft.com/office/2007/relationships/hdphoto" Target="../media/hdphoto4.wdp"/><Relationship Id="rId11" Type="http://schemas.openxmlformats.org/officeDocument/2006/relationships/image" Target="../media/image72.png"/><Relationship Id="rId5" Type="http://schemas.openxmlformats.org/officeDocument/2006/relationships/image" Target="../media/image75.png"/><Relationship Id="rId10" Type="http://schemas.openxmlformats.org/officeDocument/2006/relationships/hyperlink" Target="http://www.iotaimpact.com/" TargetMode="External"/><Relationship Id="rId4" Type="http://schemas.microsoft.com/office/2007/relationships/hdphoto" Target="../media/hdphoto3.wdp"/><Relationship Id="rId9" Type="http://schemas.openxmlformats.org/officeDocument/2006/relationships/image" Target="../media/image78.png"/></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79.jpeg"/><Relationship Id="rId1" Type="http://schemas.openxmlformats.org/officeDocument/2006/relationships/slideMaster" Target="../slideMasters/slideMaster9.xml"/><Relationship Id="rId6" Type="http://schemas.microsoft.com/office/2007/relationships/hdphoto" Target="../media/hdphoto4.wdp"/><Relationship Id="rId11" Type="http://schemas.openxmlformats.org/officeDocument/2006/relationships/image" Target="../media/image72.png"/><Relationship Id="rId5" Type="http://schemas.openxmlformats.org/officeDocument/2006/relationships/image" Target="../media/image75.png"/><Relationship Id="rId10" Type="http://schemas.openxmlformats.org/officeDocument/2006/relationships/hyperlink" Target="http://www.iotaimpact.com/" TargetMode="External"/><Relationship Id="rId4" Type="http://schemas.microsoft.com/office/2007/relationships/hdphoto" Target="../media/hdphoto5.wdp"/><Relationship Id="rId9" Type="http://schemas.openxmlformats.org/officeDocument/2006/relationships/image" Target="../media/image78.png"/></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80.jpeg"/><Relationship Id="rId1" Type="http://schemas.openxmlformats.org/officeDocument/2006/relationships/slideMaster" Target="../slideMasters/slideMaster9.xml"/><Relationship Id="rId6" Type="http://schemas.microsoft.com/office/2007/relationships/hdphoto" Target="../media/hdphoto4.wdp"/><Relationship Id="rId11" Type="http://schemas.openxmlformats.org/officeDocument/2006/relationships/image" Target="../media/image72.png"/><Relationship Id="rId5" Type="http://schemas.openxmlformats.org/officeDocument/2006/relationships/image" Target="../media/image75.png"/><Relationship Id="rId10" Type="http://schemas.openxmlformats.org/officeDocument/2006/relationships/hyperlink" Target="http://www.iotaimpact.com/" TargetMode="External"/><Relationship Id="rId4" Type="http://schemas.microsoft.com/office/2007/relationships/hdphoto" Target="../media/hdphoto5.wdp"/><Relationship Id="rId9" Type="http://schemas.openxmlformats.org/officeDocument/2006/relationships/image" Target="../media/image78.png"/></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81.jpeg"/><Relationship Id="rId1" Type="http://schemas.openxmlformats.org/officeDocument/2006/relationships/slideMaster" Target="../slideMasters/slideMaster9.xml"/><Relationship Id="rId6" Type="http://schemas.microsoft.com/office/2007/relationships/hdphoto" Target="../media/hdphoto4.wdp"/><Relationship Id="rId5" Type="http://schemas.openxmlformats.org/officeDocument/2006/relationships/image" Target="../media/image75.png"/><Relationship Id="rId4" Type="http://schemas.microsoft.com/office/2007/relationships/hdphoto" Target="../media/hdphoto5.wdp"/><Relationship Id="rId9" Type="http://schemas.openxmlformats.org/officeDocument/2006/relationships/image" Target="../media/image78.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9.xml"/><Relationship Id="rId6" Type="http://schemas.openxmlformats.org/officeDocument/2006/relationships/image" Target="../media/image72.png"/><Relationship Id="rId5" Type="http://schemas.openxmlformats.org/officeDocument/2006/relationships/hyperlink" Target="http://www.iotaimpact.com/" TargetMode="External"/><Relationship Id="rId4" Type="http://schemas.openxmlformats.org/officeDocument/2006/relationships/image" Target="../media/image77.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2.jpe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10.xml"/><Relationship Id="rId6" Type="http://schemas.openxmlformats.org/officeDocument/2006/relationships/image" Target="../media/image14.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3.xml"/><Relationship Id="rId4" Type="http://schemas.openxmlformats.org/officeDocument/2006/relationships/image" Target="../media/image62.emf"/></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 Id="rId5" Type="http://schemas.openxmlformats.org/officeDocument/2006/relationships/image" Target="../media/image63.png"/><Relationship Id="rId4" Type="http://schemas.openxmlformats.org/officeDocument/2006/relationships/hyperlink" Target="http://www.iotaimpact.com/" TargetMode="Externa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10.xml"/><Relationship Id="rId4" Type="http://schemas.openxmlformats.org/officeDocument/2006/relationships/image" Target="../media/image66.sv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14.xml"/><Relationship Id="rId4" Type="http://schemas.openxmlformats.org/officeDocument/2006/relationships/image" Target="../media/image68.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15.xml"/><Relationship Id="rId4" Type="http://schemas.openxmlformats.org/officeDocument/2006/relationships/image" Target="../media/image68.emf"/></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11.xml"/><Relationship Id="rId6" Type="http://schemas.openxmlformats.org/officeDocument/2006/relationships/image" Target="../media/image14.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1.xml"/><Relationship Id="rId1" Type="http://schemas.openxmlformats.org/officeDocument/2006/relationships/tags" Target="../tags/tag16.xml"/><Relationship Id="rId4" Type="http://schemas.openxmlformats.org/officeDocument/2006/relationships/image" Target="../media/image62.emf"/></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62.emf"/></Relationships>
</file>

<file path=ppt/slideLayouts/_rels/slideLayout270.xml.rels><?xml version="1.0" encoding="UTF-8" standalone="yes"?>
<Relationships xmlns="http://schemas.openxmlformats.org/package/2006/relationships"><Relationship Id="rId3" Type="http://schemas.openxmlformats.org/officeDocument/2006/relationships/hyperlink" Target="http://www.iotaimpact.com/" TargetMode="External"/><Relationship Id="rId2" Type="http://schemas.openxmlformats.org/officeDocument/2006/relationships/image" Target="../media/image71.png"/><Relationship Id="rId1" Type="http://schemas.openxmlformats.org/officeDocument/2006/relationships/slideMaster" Target="../slideMasters/slideMaster12.xml"/><Relationship Id="rId5" Type="http://schemas.openxmlformats.org/officeDocument/2006/relationships/image" Target="../media/image63.png"/><Relationship Id="rId4" Type="http://schemas.openxmlformats.org/officeDocument/2006/relationships/hyperlink" Target="mailto:andres@iotaimpact.com" TargetMode="Externa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2.xml"/><Relationship Id="rId5" Type="http://schemas.openxmlformats.org/officeDocument/2006/relationships/image" Target="../media/image63.png"/><Relationship Id="rId4" Type="http://schemas.openxmlformats.org/officeDocument/2006/relationships/hyperlink" Target="http://www.iotaimpact.com/" TargetMode="External"/></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73.png"/><Relationship Id="rId1" Type="http://schemas.openxmlformats.org/officeDocument/2006/relationships/slideMaster" Target="../slideMasters/slideMaster12.xml"/><Relationship Id="rId6" Type="http://schemas.microsoft.com/office/2007/relationships/hdphoto" Target="../media/hdphoto4.wdp"/><Relationship Id="rId11" Type="http://schemas.openxmlformats.org/officeDocument/2006/relationships/image" Target="../media/image63.png"/><Relationship Id="rId5" Type="http://schemas.openxmlformats.org/officeDocument/2006/relationships/image" Target="../media/image75.png"/><Relationship Id="rId10" Type="http://schemas.openxmlformats.org/officeDocument/2006/relationships/hyperlink" Target="http://www.iotaimpact.com/" TargetMode="External"/><Relationship Id="rId4" Type="http://schemas.microsoft.com/office/2007/relationships/hdphoto" Target="../media/hdphoto3.wdp"/><Relationship Id="rId9" Type="http://schemas.openxmlformats.org/officeDocument/2006/relationships/image" Target="../media/image78.png"/></Relationships>
</file>

<file path=ppt/slideLayouts/_rels/slideLayout27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83.jpeg"/><Relationship Id="rId1" Type="http://schemas.openxmlformats.org/officeDocument/2006/relationships/slideMaster" Target="../slideMasters/slideMaster12.xml"/><Relationship Id="rId6" Type="http://schemas.microsoft.com/office/2007/relationships/hdphoto" Target="../media/hdphoto4.wdp"/><Relationship Id="rId11" Type="http://schemas.openxmlformats.org/officeDocument/2006/relationships/image" Target="../media/image63.png"/><Relationship Id="rId5" Type="http://schemas.openxmlformats.org/officeDocument/2006/relationships/image" Target="../media/image75.png"/><Relationship Id="rId10" Type="http://schemas.openxmlformats.org/officeDocument/2006/relationships/hyperlink" Target="http://www.iotaimpact.com/" TargetMode="External"/><Relationship Id="rId4" Type="http://schemas.microsoft.com/office/2007/relationships/hdphoto" Target="../media/hdphoto5.wdp"/><Relationship Id="rId9" Type="http://schemas.openxmlformats.org/officeDocument/2006/relationships/image" Target="../media/image78.png"/></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84.jpeg"/><Relationship Id="rId1" Type="http://schemas.openxmlformats.org/officeDocument/2006/relationships/slideMaster" Target="../slideMasters/slideMaster12.xml"/><Relationship Id="rId6" Type="http://schemas.microsoft.com/office/2007/relationships/hdphoto" Target="../media/hdphoto4.wdp"/><Relationship Id="rId11" Type="http://schemas.openxmlformats.org/officeDocument/2006/relationships/image" Target="../media/image63.png"/><Relationship Id="rId5" Type="http://schemas.openxmlformats.org/officeDocument/2006/relationships/image" Target="../media/image75.png"/><Relationship Id="rId10" Type="http://schemas.openxmlformats.org/officeDocument/2006/relationships/hyperlink" Target="http://www.iotaimpact.com/" TargetMode="External"/><Relationship Id="rId4" Type="http://schemas.microsoft.com/office/2007/relationships/hdphoto" Target="../media/hdphoto5.wdp"/><Relationship Id="rId9" Type="http://schemas.openxmlformats.org/officeDocument/2006/relationships/image" Target="../media/image78.png"/></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85.jpeg"/><Relationship Id="rId1" Type="http://schemas.openxmlformats.org/officeDocument/2006/relationships/slideMaster" Target="../slideMasters/slideMaster12.xml"/><Relationship Id="rId6" Type="http://schemas.microsoft.com/office/2007/relationships/hdphoto" Target="../media/hdphoto4.wdp"/><Relationship Id="rId11" Type="http://schemas.openxmlformats.org/officeDocument/2006/relationships/image" Target="../media/image63.png"/><Relationship Id="rId5" Type="http://schemas.openxmlformats.org/officeDocument/2006/relationships/image" Target="../media/image75.png"/><Relationship Id="rId10" Type="http://schemas.openxmlformats.org/officeDocument/2006/relationships/hyperlink" Target="http://www.iotaimpact.com/" TargetMode="External"/><Relationship Id="rId4" Type="http://schemas.microsoft.com/office/2007/relationships/hdphoto" Target="../media/hdphoto5.wdp"/><Relationship Id="rId9" Type="http://schemas.openxmlformats.org/officeDocument/2006/relationships/image" Target="../media/image78.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hyperlink" Target="http://www.iotaimpact.com/" TargetMode="External"/><Relationship Id="rId2" Type="http://schemas.openxmlformats.org/officeDocument/2006/relationships/image" Target="../media/image3.jpeg"/><Relationship Id="rId1" Type="http://schemas.openxmlformats.org/officeDocument/2006/relationships/slideMaster" Target="../slideMasters/slideMaster12.xml"/><Relationship Id="rId6" Type="http://schemas.openxmlformats.org/officeDocument/2006/relationships/image" Target="../media/image63.png"/><Relationship Id="rId5" Type="http://schemas.openxmlformats.org/officeDocument/2006/relationships/image" Target="../media/image77.png"/><Relationship Id="rId4" Type="http://schemas.openxmlformats.org/officeDocument/2006/relationships/image" Target="../media/image4.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2.jpe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63.png"/><Relationship Id="rId4" Type="http://schemas.openxmlformats.org/officeDocument/2006/relationships/hyperlink" Target="http://www.iotaimpact.com/" TargetMode="Externa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2.xml"/><Relationship Id="rId4" Type="http://schemas.openxmlformats.org/officeDocument/2006/relationships/image" Target="../media/image66.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6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68.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3.xml"/><Relationship Id="rId6" Type="http://schemas.openxmlformats.org/officeDocument/2006/relationships/image" Target="../media/image14.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62.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63.png"/><Relationship Id="rId4" Type="http://schemas.openxmlformats.org/officeDocument/2006/relationships/hyperlink" Target="http://www.iotaimpact.com/" TargetMode="Externa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2" Type="http://schemas.openxmlformats.org/officeDocument/2006/relationships/image" Target="../media/image10.png"/><Relationship Id="rId16" Type="http://schemas.openxmlformats.org/officeDocument/2006/relationships/image" Target="../media/image24.png"/><Relationship Id="rId29" Type="http://schemas.openxmlformats.org/officeDocument/2006/relationships/image" Target="../media/image37.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 Id="rId3" Type="http://schemas.openxmlformats.org/officeDocument/2006/relationships/image" Target="../media/image11.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0" Type="http://schemas.openxmlformats.org/officeDocument/2006/relationships/image" Target="../media/image28.png"/><Relationship Id="rId41" Type="http://schemas.openxmlformats.org/officeDocument/2006/relationships/image" Target="../media/image49.png"/><Relationship Id="rId1" Type="http://schemas.openxmlformats.org/officeDocument/2006/relationships/slideMaster" Target="../slideMasters/slideMaster4.xml"/><Relationship Id="rId6" Type="http://schemas.openxmlformats.org/officeDocument/2006/relationships/image" Target="../media/image14.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62.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63.png"/><Relationship Id="rId4" Type="http://schemas.openxmlformats.org/officeDocument/2006/relationships/hyperlink" Target="http://www.iotaimpact.com/" TargetMode="Externa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6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F7B3D0-7A55-FB74-3024-DE5C22F06B4D}"/>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95C8CEE4-C564-E5DA-3863-39C2C009C2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40D41D90-2CCA-F2AD-B3FC-A92C4CAC6CDF}"/>
              </a:ext>
            </a:extLst>
          </p:cNvPr>
          <p:cNvSpPr>
            <a:spLocks noGrp="1"/>
          </p:cNvSpPr>
          <p:nvPr>
            <p:ph type="dt" sz="half" idx="10"/>
          </p:nvPr>
        </p:nvSpPr>
        <p:spPr/>
        <p:txBody>
          <a:bodyPr/>
          <a:lstStyle/>
          <a:p>
            <a:fld id="{29A7E93A-E444-4418-87FE-075A962CD7CB}" type="datetime1">
              <a:rPr lang="es-ES_tradnl" smtClean="0"/>
              <a:t>10/07/2024</a:t>
            </a:fld>
            <a:endParaRPr lang="es-CO"/>
          </a:p>
        </p:txBody>
      </p:sp>
      <p:sp>
        <p:nvSpPr>
          <p:cNvPr id="5" name="Marcador de pie de página 4">
            <a:extLst>
              <a:ext uri="{FF2B5EF4-FFF2-40B4-BE49-F238E27FC236}">
                <a16:creationId xmlns:a16="http://schemas.microsoft.com/office/drawing/2014/main" id="{A610A573-F68D-7DDB-486E-F1DE1F8BF8D5}"/>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97306B88-0DB4-21E7-A2BC-3B77421D3341}"/>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438189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35F72B-A571-1B13-0757-9638AB1965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20235997-EF75-355A-033A-C23B3FE88AD5}"/>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00733909-480C-29BA-6413-5BF986D4E39E}"/>
              </a:ext>
            </a:extLst>
          </p:cNvPr>
          <p:cNvSpPr>
            <a:spLocks noGrp="1"/>
          </p:cNvSpPr>
          <p:nvPr>
            <p:ph type="dt" sz="half" idx="10"/>
          </p:nvPr>
        </p:nvSpPr>
        <p:spPr/>
        <p:txBody>
          <a:bodyPr/>
          <a:lstStyle/>
          <a:p>
            <a:fld id="{C82D6DAD-C70F-4179-B179-D381D66052EA}" type="datetime1">
              <a:rPr lang="es-ES_tradnl" smtClean="0"/>
              <a:t>10/07/2024</a:t>
            </a:fld>
            <a:endParaRPr lang="es-CO"/>
          </a:p>
        </p:txBody>
      </p:sp>
      <p:sp>
        <p:nvSpPr>
          <p:cNvPr id="5" name="Marcador de pie de página 4">
            <a:extLst>
              <a:ext uri="{FF2B5EF4-FFF2-40B4-BE49-F238E27FC236}">
                <a16:creationId xmlns:a16="http://schemas.microsoft.com/office/drawing/2014/main" id="{6F678D0D-24F0-C337-73B4-FC2E5188A584}"/>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186B774E-7A46-1D32-B932-532EAB04D061}"/>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30436061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925C-7845-4EE2-A88F-20F57FE70D02}"/>
              </a:ext>
            </a:extLst>
          </p:cNvPr>
          <p:cNvSpPr>
            <a:spLocks noGrp="1"/>
          </p:cNvSpPr>
          <p:nvPr>
            <p:ph type="title"/>
          </p:nvPr>
        </p:nvSpPr>
        <p:spPr>
          <a:xfrm>
            <a:off x="71687" y="136525"/>
            <a:ext cx="11991975" cy="1152345"/>
          </a:xfrm>
        </p:spPr>
        <p:txBody>
          <a:bodyPr/>
          <a:lstStyle>
            <a:lvl1pPr>
              <a:defRPr sz="2400" b="1">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97248AC-B1E6-4AF5-BEB0-DAEC85305A72}"/>
              </a:ext>
            </a:extLst>
          </p:cNvPr>
          <p:cNvSpPr>
            <a:spLocks noGrp="1"/>
          </p:cNvSpPr>
          <p:nvPr>
            <p:ph idx="1"/>
          </p:nvPr>
        </p:nvSpPr>
        <p:spPr>
          <a:xfrm>
            <a:off x="71687" y="1393371"/>
            <a:ext cx="11991975" cy="4783592"/>
          </a:xfrm>
        </p:spPr>
        <p:txBody>
          <a:bodyPr/>
          <a:lstStyle>
            <a:lvl1pPr>
              <a:defRPr>
                <a:solidFill>
                  <a:schemeClr val="tx1"/>
                </a:solidFill>
              </a:defRPr>
            </a:lvl1pPr>
            <a:lvl2pPr>
              <a:defRPr>
                <a:solidFill>
                  <a:schemeClr val="tx1"/>
                </a:solidFill>
              </a:defRPr>
            </a:lvl2pPr>
            <a:lvl3pPr>
              <a:defRPr>
                <a:solidFill>
                  <a:schemeClr val="tx1"/>
                </a:solidFill>
              </a:defRPr>
            </a:lvl3pPr>
            <a:lvl4pPr marL="1371600" indent="0">
              <a:buNone/>
              <a:defRPr>
                <a:solidFill>
                  <a:schemeClr val="tx1"/>
                </a:solidFill>
              </a:defRPr>
            </a:lvl4pPr>
          </a:lstStyle>
          <a:p>
            <a:pPr lvl="0"/>
            <a:r>
              <a:rPr lang="en-US"/>
              <a:t>Click to edit Master text styles</a:t>
            </a:r>
          </a:p>
          <a:p>
            <a:pPr lvl="1"/>
            <a:r>
              <a:rPr lang="en-US"/>
              <a:t>Second level</a:t>
            </a:r>
          </a:p>
          <a:p>
            <a:pPr lvl="2"/>
            <a:r>
              <a:rPr lang="en-US"/>
              <a:t>Third level</a:t>
            </a:r>
          </a:p>
          <a:p>
            <a:pPr lvl="3"/>
            <a:endParaRPr lang="en-US"/>
          </a:p>
        </p:txBody>
      </p:sp>
      <p:sp>
        <p:nvSpPr>
          <p:cNvPr id="6" name="Slide Number Placeholder 5">
            <a:extLst>
              <a:ext uri="{FF2B5EF4-FFF2-40B4-BE49-F238E27FC236}">
                <a16:creationId xmlns:a16="http://schemas.microsoft.com/office/drawing/2014/main" id="{55E422A2-8C74-45BD-A87E-80FB938061CF}"/>
              </a:ext>
            </a:extLst>
          </p:cNvPr>
          <p:cNvSpPr>
            <a:spLocks noGrp="1"/>
          </p:cNvSpPr>
          <p:nvPr>
            <p:ph type="sldNum" sz="quarter" idx="12"/>
          </p:nvPr>
        </p:nvSpPr>
        <p:spPr>
          <a:xfrm>
            <a:off x="11502189" y="6356350"/>
            <a:ext cx="561474" cy="501650"/>
          </a:xfrm>
          <a:prstGeom prst="rect">
            <a:avLst/>
          </a:prstGeom>
        </p:spPr>
        <p:txBody>
          <a:bodyPr/>
          <a:lstStyle/>
          <a:p>
            <a:fld id="{45DD850A-48CF-4963-9607-58D982076C8A}" type="slidenum">
              <a:rPr lang="en-US" smtClean="0"/>
              <a:t>‹#›</a:t>
            </a:fld>
            <a:endParaRPr lang="en-US" dirty="0"/>
          </a:p>
        </p:txBody>
      </p:sp>
      <p:sp>
        <p:nvSpPr>
          <p:cNvPr id="9" name="Content Placeholder 2">
            <a:extLst>
              <a:ext uri="{FF2B5EF4-FFF2-40B4-BE49-F238E27FC236}">
                <a16:creationId xmlns:a16="http://schemas.microsoft.com/office/drawing/2014/main" id="{7E1EF5F8-9AD9-4FA5-8593-375C2F92D645}"/>
              </a:ext>
            </a:extLst>
          </p:cNvPr>
          <p:cNvSpPr>
            <a:spLocks noGrp="1"/>
          </p:cNvSpPr>
          <p:nvPr>
            <p:ph idx="11" hasCustomPrompt="1"/>
          </p:nvPr>
        </p:nvSpPr>
        <p:spPr>
          <a:xfrm>
            <a:off x="1254071" y="6356350"/>
            <a:ext cx="10099729" cy="482194"/>
          </a:xfrm>
        </p:spPr>
        <p:txBody>
          <a:bodyPr anchor="ctr"/>
          <a:lstStyle>
            <a:lvl1pPr>
              <a:buNone/>
              <a:defRPr sz="900" i="1">
                <a:solidFill>
                  <a:schemeClr val="tx2"/>
                </a:solidFill>
              </a:defRPr>
            </a:lvl1pPr>
            <a:lvl2pPr>
              <a:defRPr sz="2400"/>
            </a:lvl2pPr>
            <a:lvl3pPr>
              <a:defRPr sz="2400"/>
            </a:lvl3pPr>
            <a:lvl4pPr marL="1371600" indent="0">
              <a:buNone/>
              <a:defRPr/>
            </a:lvl4pPr>
          </a:lstStyle>
          <a:p>
            <a:pPr lvl="0"/>
            <a:r>
              <a:rPr lang="en-US"/>
              <a:t>Click to edit footnotes</a:t>
            </a:r>
          </a:p>
        </p:txBody>
      </p:sp>
    </p:spTree>
    <p:extLst>
      <p:ext uri="{BB962C8B-B14F-4D97-AF65-F5344CB8AC3E}">
        <p14:creationId xmlns:p14="http://schemas.microsoft.com/office/powerpoint/2010/main" val="1363421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PhAnim="0" userDrawn="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EFDBD-92DA-8013-FB65-C32B49CB1EF8}"/>
              </a:ext>
            </a:extLst>
          </p:cNvPr>
          <p:cNvSpPr>
            <a:spLocks noGrp="1"/>
          </p:cNvSpPr>
          <p:nvPr>
            <p:ph type="title" hasCustomPrompt="1"/>
          </p:nvPr>
        </p:nvSpPr>
        <p:spPr>
          <a:xfrm>
            <a:off x="1101213" y="216270"/>
            <a:ext cx="10579510" cy="798836"/>
          </a:xfrm>
          <a:prstGeom prst="rect">
            <a:avLst/>
          </a:prstGeom>
        </p:spPr>
        <p:txBody>
          <a:body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13102066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PhAnim="0" preserve="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349397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PhAnim="0" preserve="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8984211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PhAnim="0" preserve="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32099999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PhAnim="0" preserve="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p:nvGrpSpPr>
        <p:grpSpPr>
          <a:xfrm>
            <a:off x="146933" y="1996751"/>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213222901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PhAnim="0" preserve="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2237129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PhAnim="0" preserve="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r>
              <a:rPr lang="es-MX"/>
              <a:t>Haz clic en el icono para agregar una imagen</a:t>
            </a:r>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27263806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PhAnim="0" preserve="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r>
              <a:rPr lang="es-MX"/>
              <a:t>Haz clic en el icono para agregar una imagen</a:t>
            </a:r>
            <a:endParaRPr lang="es-CO"/>
          </a:p>
        </p:txBody>
      </p:sp>
      <p:sp>
        <p:nvSpPr>
          <p:cNvPr id="3" name="Rectangle 2">
            <a:extLst>
              <a:ext uri="{FF2B5EF4-FFF2-40B4-BE49-F238E27FC236}">
                <a16:creationId xmlns:a16="http://schemas.microsoft.com/office/drawing/2014/main" id="{FB3F6377-E847-A0C6-F520-122248FABD04}"/>
              </a:ext>
            </a:extLst>
          </p:cNvPr>
          <p:cNvSpPr/>
          <p:nvPr/>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4762961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PhAnim="0" preserve="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95060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771E257D-CEF6-5F32-4B89-A1E7BE9D1343}"/>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8C0A61D3-2495-143A-74CC-8B05751A201B}"/>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384634B-5190-9DB5-9856-C97E659B18C3}"/>
              </a:ext>
            </a:extLst>
          </p:cNvPr>
          <p:cNvSpPr>
            <a:spLocks noGrp="1"/>
          </p:cNvSpPr>
          <p:nvPr>
            <p:ph type="dt" sz="half" idx="10"/>
          </p:nvPr>
        </p:nvSpPr>
        <p:spPr/>
        <p:txBody>
          <a:bodyPr/>
          <a:lstStyle/>
          <a:p>
            <a:fld id="{FD86AC3F-A8C4-4058-A7C7-CFE4BCA5DD4F}" type="datetime1">
              <a:rPr lang="es-ES_tradnl" smtClean="0"/>
              <a:t>10/07/2024</a:t>
            </a:fld>
            <a:endParaRPr lang="es-CO"/>
          </a:p>
        </p:txBody>
      </p:sp>
      <p:sp>
        <p:nvSpPr>
          <p:cNvPr id="5" name="Marcador de pie de página 4">
            <a:extLst>
              <a:ext uri="{FF2B5EF4-FFF2-40B4-BE49-F238E27FC236}">
                <a16:creationId xmlns:a16="http://schemas.microsoft.com/office/drawing/2014/main" id="{DA4871D3-C894-15C5-66B8-D4E7A45E766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5BFCBA76-C4E7-FF7C-CC56-D0F068A93328}"/>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20023865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PhAnim="0" preserve="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r>
              <a:rPr lang="es-MX"/>
              <a:t>Haz clic en el icono para agregar una imagen</a:t>
            </a:r>
            <a:endParaRPr lang="es-CO"/>
          </a:p>
        </p:txBody>
      </p:sp>
      <p:sp>
        <p:nvSpPr>
          <p:cNvPr id="17" name="Rectángulo 37">
            <a:extLst>
              <a:ext uri="{FF2B5EF4-FFF2-40B4-BE49-F238E27FC236}">
                <a16:creationId xmlns:a16="http://schemas.microsoft.com/office/drawing/2014/main" id="{3B26E765-45BE-2F2E-CCFF-E6CEC51D8ED3}"/>
              </a:ext>
            </a:extLst>
          </p:cNvPr>
          <p:cNvSpPr/>
          <p:nvPr/>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20464550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PhAnim="0" preserve="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5494664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PhAnim="0" preserve="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10847195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PhAnim="0" preserve="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3980103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PhAnim="0" preserve="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41251798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30840555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3049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80666804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9424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Main">
    <p:spTree>
      <p:nvGrpSpPr>
        <p:cNvPr id="1" name=""/>
        <p:cNvGrpSpPr/>
        <p:nvPr/>
      </p:nvGrpSpPr>
      <p:grpSpPr>
        <a:xfrm>
          <a:off x="0" y="0"/>
          <a:ext cx="0" cy="0"/>
          <a:chOff x="0" y="0"/>
          <a:chExt cx="0" cy="0"/>
        </a:xfrm>
      </p:grpSpPr>
      <p:sp>
        <p:nvSpPr>
          <p:cNvPr id="38" name="Shape 2"/>
          <p:cNvSpPr/>
          <p:nvPr/>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562971502"/>
      </p:ext>
    </p:extLst>
  </p:cSld>
  <p:clrMapOvr>
    <a:masterClrMapping/>
  </p:clrMapOvr>
  <p:transition spd="slow" advTm="2000">
    <p:cover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a:t>TÍTULO</a:t>
            </a:r>
          </a:p>
          <a:p>
            <a:r>
              <a:rPr lang="en-US"/>
              <a:t>  PROYEC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Poppins Light"/>
                <a:ea typeface="+mn-ea"/>
                <a:cs typeface="+mn-cs"/>
              </a:rPr>
              <a:t>         </a:t>
            </a:r>
            <a:r>
              <a:rPr kumimoji="0" lang="en-US" sz="1800" b="0" i="0" u="none" strike="noStrike" kern="1200" cap="none" spc="0" normalizeH="0" baseline="0" noProof="0" err="1">
                <a:ln>
                  <a:noFill/>
                </a:ln>
                <a:solidFill>
                  <a:srgbClr val="FFFFFF"/>
                </a:solidFill>
                <a:effectLst/>
                <a:uLnTx/>
                <a:uFillTx/>
                <a:latin typeface="Poppins Light"/>
                <a:ea typeface="+mn-ea"/>
                <a:cs typeface="+mn-cs"/>
              </a:rPr>
              <a:t>Descripción</a:t>
            </a: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D5B9FF"/>
                </a:solidFill>
                <a:effectLst/>
                <a:uLnTx/>
                <a:uFillTx/>
                <a:latin typeface="Poppins Light"/>
                <a:ea typeface="+mn-ea"/>
                <a:cs typeface="+mn-cs"/>
              </a:rPr>
              <a:t>         </a:t>
            </a:r>
            <a:fld id="{1546BBD9-0C90-41FE-A77E-E8ADF899BD7D}" type="datetime1">
              <a:rPr kumimoji="0" lang="es-ES_tradnl" sz="1800" b="0" i="0" u="none" strike="noStrike" kern="1200" cap="none" spc="0" normalizeH="0" baseline="0" noProof="0" smtClean="0">
                <a:ln>
                  <a:noFill/>
                </a:ln>
                <a:solidFill>
                  <a:srgbClr val="D5B9FF"/>
                </a:solidFill>
                <a:effectLst/>
                <a:uLnTx/>
                <a:uFillTx/>
                <a:latin typeface="Poppins Light"/>
                <a:ea typeface="+mn-ea"/>
                <a:cs typeface="+mn-cs"/>
              </a:rPr>
              <a:t>10/07/2024</a:t>
            </a:fld>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a:p>
            <a:endParaRPr lang="en-US"/>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a:solidFill>
                <a:srgbClr val="D5B9FF"/>
              </a:solidFill>
            </a:endParaRPr>
          </a:p>
        </p:txBody>
      </p:sp>
      <p:sp>
        <p:nvSpPr>
          <p:cNvPr id="27" name="CuadroTexto 26">
            <a:extLst>
              <a:ext uri="{FF2B5EF4-FFF2-40B4-BE49-F238E27FC236}">
                <a16:creationId xmlns:a16="http://schemas.microsoft.com/office/drawing/2014/main" id="{3D9119BB-A33B-08E5-4968-11B7ACDE1DFE}"/>
              </a:ext>
            </a:extLst>
          </p:cNvPr>
          <p:cNvSpPr txBox="1"/>
          <p:nvPr userDrawn="1"/>
        </p:nvSpPr>
        <p:spPr>
          <a:xfrm>
            <a:off x="982663" y="5248711"/>
            <a:ext cx="5780049"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i="1">
                <a:solidFill>
                  <a:schemeClr val="bg1"/>
                </a:solidFill>
                <a:effectLst/>
                <a:latin typeface="Helvetica" pitchFamily="2" charset="0"/>
              </a:rPr>
              <a:t>andres@iotaimpact.com</a:t>
            </a:r>
            <a:endParaRPr lang="es-CO">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Helvetica" pitchFamily="2" charset="0"/>
              </a:rPr>
              <a:t>Confidential</a:t>
            </a:r>
            <a:r>
              <a:rPr lang="es-CO" sz="900" i="1">
                <a:solidFill>
                  <a:schemeClr val="bg1"/>
                </a:solidFill>
                <a:effectLst/>
                <a:latin typeface="Helvetica" pitchFamily="2" charset="0"/>
              </a:rPr>
              <a:t> and </a:t>
            </a:r>
            <a:r>
              <a:rPr lang="es-CO" sz="900" i="1" err="1">
                <a:solidFill>
                  <a:schemeClr val="bg1"/>
                </a:solidFill>
                <a:effectLst/>
                <a:latin typeface="Helvetica" pitchFamily="2" charset="0"/>
              </a:rPr>
              <a:t>proprietary</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Not</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for</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distribution</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without</a:t>
            </a:r>
            <a:r>
              <a:rPr lang="es-CO" sz="900" i="1">
                <a:solidFill>
                  <a:schemeClr val="bg1"/>
                </a:solidFill>
                <a:effectLst/>
                <a:latin typeface="Helvetica" pitchFamily="2" charset="0"/>
              </a:rPr>
              <a:t> IOTA </a:t>
            </a:r>
            <a:r>
              <a:rPr lang="es-CO" sz="900" i="1" err="1">
                <a:solidFill>
                  <a:schemeClr val="bg1"/>
                </a:solidFill>
                <a:effectLst/>
                <a:latin typeface="Helvetica" pitchFamily="2" charset="0"/>
              </a:rPr>
              <a:t>Impact's</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permission</a:t>
            </a:r>
            <a:r>
              <a:rPr lang="es-CO" sz="900" i="1">
                <a:solidFill>
                  <a:schemeClr val="bg1"/>
                </a:solidFill>
                <a:effectLst/>
                <a:latin typeface="Helvetica" pitchFamily="2" charset="0"/>
              </a:rPr>
              <a:t>.</a:t>
            </a:r>
            <a:endParaRPr lang="es-CO" sz="900">
              <a:solidFill>
                <a:schemeClr val="bg1"/>
              </a:solidFill>
              <a:effectLst/>
              <a:latin typeface="Helvetica" pitchFamily="2" charset="0"/>
            </a:endParaRPr>
          </a:p>
          <a:p>
            <a:pPr algn="l"/>
            <a:endParaRPr lang="es-CO">
              <a:solidFill>
                <a:schemeClr val="bg1"/>
              </a:solidFill>
            </a:endParaRPr>
          </a:p>
        </p:txBody>
      </p:sp>
    </p:spTree>
    <p:extLst>
      <p:ext uri="{BB962C8B-B14F-4D97-AF65-F5344CB8AC3E}">
        <p14:creationId xmlns:p14="http://schemas.microsoft.com/office/powerpoint/2010/main" val="6107081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7292864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73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r>
              <a:rPr lang="es-MX"/>
              <a:t>Haga clic para modificar los estilos de texto del patrón</a:t>
            </a:r>
          </a:p>
        </p:txBody>
      </p:sp>
    </p:spTree>
    <p:extLst>
      <p:ext uri="{BB962C8B-B14F-4D97-AF65-F5344CB8AC3E}">
        <p14:creationId xmlns:p14="http://schemas.microsoft.com/office/powerpoint/2010/main" val="328690836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94189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1899674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PhAnim="0" userDrawn="1">
  <p:cSld name="1_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52968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04833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dirty="0"/>
          </a:p>
        </p:txBody>
      </p:sp>
    </p:spTree>
    <p:extLst>
      <p:ext uri="{BB962C8B-B14F-4D97-AF65-F5344CB8AC3E}">
        <p14:creationId xmlns:p14="http://schemas.microsoft.com/office/powerpoint/2010/main" val="40823638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78321125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dirty="0"/>
          </a:p>
        </p:txBody>
      </p:sp>
    </p:spTree>
    <p:extLst>
      <p:ext uri="{BB962C8B-B14F-4D97-AF65-F5344CB8AC3E}">
        <p14:creationId xmlns:p14="http://schemas.microsoft.com/office/powerpoint/2010/main" val="3294256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5696322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dirty="0"/>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dirty="0"/>
          </a:p>
        </p:txBody>
      </p:sp>
    </p:spTree>
    <p:extLst>
      <p:ext uri="{BB962C8B-B14F-4D97-AF65-F5344CB8AC3E}">
        <p14:creationId xmlns:p14="http://schemas.microsoft.com/office/powerpoint/2010/main" val="13219720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dirty="0"/>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0357019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dirty="0"/>
          </a:p>
        </p:txBody>
      </p:sp>
    </p:spTree>
    <p:extLst>
      <p:ext uri="{BB962C8B-B14F-4D97-AF65-F5344CB8AC3E}">
        <p14:creationId xmlns:p14="http://schemas.microsoft.com/office/powerpoint/2010/main" val="34340335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dirty="0"/>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dirty="0">
                <a:solidFill>
                  <a:srgbClr val="304258"/>
                </a:solidFill>
                <a:latin typeface="Poppins" panose="00000500000000000000" pitchFamily="2" charset="0"/>
                <a:cs typeface="Poppins" panose="00000500000000000000" pitchFamily="2" charset="0"/>
              </a:rPr>
              <a:t>Data gathering</a:t>
            </a:r>
          </a:p>
          <a:p>
            <a:r>
              <a:rPr lang="en-US" dirty="0">
                <a:solidFill>
                  <a:srgbClr val="304258"/>
                </a:solidFill>
                <a:latin typeface="Poppins" panose="00000500000000000000" pitchFamily="2" charset="0"/>
                <a:cs typeface="Poppins" panose="00000500000000000000" pitchFamily="2" charset="0"/>
              </a:rPr>
              <a:t>Analysis structuring and execution</a:t>
            </a:r>
          </a:p>
          <a:p>
            <a:r>
              <a:rPr lang="en-US" dirty="0">
                <a:solidFill>
                  <a:srgbClr val="304258"/>
                </a:solidFill>
                <a:latin typeface="Poppins" panose="00000500000000000000" pitchFamily="2" charset="0"/>
                <a:cs typeface="Poppins" panose="00000500000000000000" pitchFamily="2" charset="0"/>
              </a:rPr>
              <a:t>Technical expertise</a:t>
            </a:r>
          </a:p>
          <a:p>
            <a:r>
              <a:rPr lang="en-US" dirty="0">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09890019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913044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550626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0001345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220435315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11797186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763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647002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250402019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403262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dirty="0"/>
          </a:p>
        </p:txBody>
      </p:sp>
    </p:spTree>
    <p:extLst>
      <p:ext uri="{BB962C8B-B14F-4D97-AF65-F5344CB8AC3E}">
        <p14:creationId xmlns:p14="http://schemas.microsoft.com/office/powerpoint/2010/main" val="3126144088"/>
      </p:ext>
    </p:extLst>
  </p:cSld>
  <p:clrMapOvr>
    <a:masterClrMapping/>
  </p:clrMapOvr>
  <p:transition spd="slow" advTm="2000">
    <p:cover dir="d"/>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387872721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06879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1183719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96679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35365409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18804579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dirty="0"/>
              <a:t>TÍTULO</a:t>
            </a:r>
          </a:p>
          <a:p>
            <a:r>
              <a:rPr lang="en-US" dirty="0"/>
              <a:t>  PROYECTO</a:t>
            </a:r>
          </a:p>
          <a:p>
            <a:pPr>
              <a:buFontTx/>
              <a:buNone/>
              <a:defRPr/>
            </a:pPr>
            <a:r>
              <a:rPr lang="en-US" sz="1800" dirty="0">
                <a:solidFill>
                  <a:srgbClr val="FFFFFF"/>
                </a:solidFill>
                <a:latin typeface="Poppins Light"/>
                <a:cs typeface="+mn-cs"/>
              </a:rPr>
              <a:t>         Descripción</a:t>
            </a:r>
          </a:p>
          <a:p>
            <a:pPr>
              <a:defRPr/>
            </a:pPr>
            <a:r>
              <a:rPr lang="en-US" sz="1800" dirty="0">
                <a:solidFill>
                  <a:srgbClr val="D5B9FF"/>
                </a:solidFill>
                <a:latin typeface="Poppins Light"/>
                <a:cs typeface="+mn-cs"/>
              </a:rPr>
              <a:t>         Friday, March 22, 2024</a:t>
            </a:r>
            <a:endParaRPr lang="en-US" sz="1800" dirty="0">
              <a:solidFill>
                <a:srgbClr val="FFFFFF"/>
              </a:solidFill>
              <a:latin typeface="Poppins Light"/>
              <a:cs typeface="+mn-cs"/>
            </a:endParaRPr>
          </a:p>
          <a:p>
            <a:pPr>
              <a:buFontTx/>
              <a:buNone/>
              <a:defRPr/>
            </a:pPr>
            <a:endParaRPr lang="en-US" sz="1800" dirty="0">
              <a:solidFill>
                <a:srgbClr val="FFFFFF"/>
              </a:solidFill>
              <a:latin typeface="Poppins Light"/>
              <a:cs typeface="+mn-cs"/>
            </a:endParaRPr>
          </a:p>
          <a:p>
            <a:endParaRPr lang="en-US" dirty="0"/>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dirty="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dirty="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dirty="0">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dirty="0">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l"/>
            <a:endParaRPr lang="es-CO" dirty="0">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3575231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37416856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7156CC59-C862-D989-1BF0-B89865AC2DB6}"/>
              </a:ext>
            </a:extLst>
          </p:cNvPr>
          <p:cNvSpPr>
            <a:spLocks noGrp="1"/>
          </p:cNvSpPr>
          <p:nvPr>
            <p:ph type="dt" sz="half" idx="10"/>
          </p:nvPr>
        </p:nvSpPr>
        <p:spPr/>
        <p:txBody>
          <a:bodyPr/>
          <a:lstStyle/>
          <a:p>
            <a:fld id="{AABA4C92-805F-41EF-8422-885ABC139F3A}" type="datetime1">
              <a:rPr lang="es-CO" smtClean="0"/>
              <a:t>10/07/2024</a:t>
            </a:fld>
            <a:endParaRPr lang="es-CO" dirty="0"/>
          </a:p>
        </p:txBody>
      </p:sp>
      <p:sp>
        <p:nvSpPr>
          <p:cNvPr id="3" name="Marcador de pie de página 2">
            <a:extLst>
              <a:ext uri="{FF2B5EF4-FFF2-40B4-BE49-F238E27FC236}">
                <a16:creationId xmlns:a16="http://schemas.microsoft.com/office/drawing/2014/main" id="{E1B50424-ACE5-91A8-08B3-970065076702}"/>
              </a:ext>
            </a:extLst>
          </p:cNvPr>
          <p:cNvSpPr>
            <a:spLocks noGrp="1"/>
          </p:cNvSpPr>
          <p:nvPr>
            <p:ph type="ftr" sz="quarter" idx="11"/>
          </p:nvPr>
        </p:nvSpPr>
        <p:spPr/>
        <p:txBody>
          <a:bodyPr/>
          <a:lstStyle/>
          <a:p>
            <a:endParaRPr lang="es-CO" dirty="0"/>
          </a:p>
        </p:txBody>
      </p:sp>
      <p:sp>
        <p:nvSpPr>
          <p:cNvPr id="4" name="Marcador de número de diapositiva 3">
            <a:extLst>
              <a:ext uri="{FF2B5EF4-FFF2-40B4-BE49-F238E27FC236}">
                <a16:creationId xmlns:a16="http://schemas.microsoft.com/office/drawing/2014/main" id="{ACB1EBA4-A8C0-2CD6-3EC1-E08EC7B3A2EF}"/>
              </a:ext>
            </a:extLst>
          </p:cNvPr>
          <p:cNvSpPr>
            <a:spLocks noGrp="1"/>
          </p:cNvSpPr>
          <p:nvPr>
            <p:ph type="sldNum" sz="quarter" idx="12"/>
          </p:nvPr>
        </p:nvSpPr>
        <p:spPr/>
        <p:txBody>
          <a:bodyPr/>
          <a:lstStyle/>
          <a:p>
            <a:fld id="{84C6C1A2-A7E8-A349-BC65-CFD954CC74C7}" type="slidenum">
              <a:rPr lang="es-CO" smtClean="0"/>
              <a:t>‹#›</a:t>
            </a:fld>
            <a:endParaRPr lang="es-CO" dirty="0"/>
          </a:p>
        </p:txBody>
      </p:sp>
    </p:spTree>
    <p:extLst>
      <p:ext uri="{BB962C8B-B14F-4D97-AF65-F5344CB8AC3E}">
        <p14:creationId xmlns:p14="http://schemas.microsoft.com/office/powerpoint/2010/main" val="83060353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925C-7845-4EE2-A88F-20F57FE70D02}"/>
              </a:ext>
            </a:extLst>
          </p:cNvPr>
          <p:cNvSpPr>
            <a:spLocks noGrp="1"/>
          </p:cNvSpPr>
          <p:nvPr>
            <p:ph type="title"/>
          </p:nvPr>
        </p:nvSpPr>
        <p:spPr>
          <a:xfrm>
            <a:off x="71687" y="136525"/>
            <a:ext cx="11991975" cy="1152345"/>
          </a:xfrm>
        </p:spPr>
        <p:txBody>
          <a:bodyPr/>
          <a:lstStyle>
            <a:lvl1pPr>
              <a:defRPr sz="2400" b="1">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97248AC-B1E6-4AF5-BEB0-DAEC85305A72}"/>
              </a:ext>
            </a:extLst>
          </p:cNvPr>
          <p:cNvSpPr>
            <a:spLocks noGrp="1"/>
          </p:cNvSpPr>
          <p:nvPr>
            <p:ph idx="1"/>
          </p:nvPr>
        </p:nvSpPr>
        <p:spPr>
          <a:xfrm>
            <a:off x="71687" y="1393371"/>
            <a:ext cx="11991975" cy="4783592"/>
          </a:xfrm>
        </p:spPr>
        <p:txBody>
          <a:bodyPr/>
          <a:lstStyle>
            <a:lvl1pPr>
              <a:defRPr>
                <a:solidFill>
                  <a:schemeClr val="tx1"/>
                </a:solidFill>
              </a:defRPr>
            </a:lvl1pPr>
            <a:lvl2pPr>
              <a:defRPr>
                <a:solidFill>
                  <a:schemeClr val="tx1"/>
                </a:solidFill>
              </a:defRPr>
            </a:lvl2pPr>
            <a:lvl3pPr>
              <a:defRPr>
                <a:solidFill>
                  <a:schemeClr val="tx1"/>
                </a:solidFill>
              </a:defRPr>
            </a:lvl3pPr>
            <a:lvl4pPr marL="1371600" indent="0">
              <a:buNone/>
              <a:defRPr>
                <a:solidFill>
                  <a:schemeClr val="tx1"/>
                </a:solidFill>
              </a:defRPr>
            </a:lvl4pPr>
          </a:lstStyle>
          <a:p>
            <a:pPr lvl="0"/>
            <a:r>
              <a:rPr lang="en-US"/>
              <a:t>Click to edit Master text styles</a:t>
            </a:r>
          </a:p>
          <a:p>
            <a:pPr lvl="1"/>
            <a:r>
              <a:rPr lang="en-US"/>
              <a:t>Second level</a:t>
            </a:r>
          </a:p>
          <a:p>
            <a:pPr lvl="2"/>
            <a:r>
              <a:rPr lang="en-US"/>
              <a:t>Third level</a:t>
            </a:r>
          </a:p>
          <a:p>
            <a:pPr lvl="3"/>
            <a:endParaRPr lang="en-US"/>
          </a:p>
        </p:txBody>
      </p:sp>
      <p:sp>
        <p:nvSpPr>
          <p:cNvPr id="6" name="Slide Number Placeholder 5">
            <a:extLst>
              <a:ext uri="{FF2B5EF4-FFF2-40B4-BE49-F238E27FC236}">
                <a16:creationId xmlns:a16="http://schemas.microsoft.com/office/drawing/2014/main" id="{55E422A2-8C74-45BD-A87E-80FB938061CF}"/>
              </a:ext>
            </a:extLst>
          </p:cNvPr>
          <p:cNvSpPr>
            <a:spLocks noGrp="1"/>
          </p:cNvSpPr>
          <p:nvPr>
            <p:ph type="sldNum" sz="quarter" idx="12"/>
          </p:nvPr>
        </p:nvSpPr>
        <p:spPr>
          <a:xfrm>
            <a:off x="11502189" y="6356350"/>
            <a:ext cx="561474" cy="501650"/>
          </a:xfrm>
          <a:prstGeom prst="rect">
            <a:avLst/>
          </a:prstGeom>
        </p:spPr>
        <p:txBody>
          <a:bodyPr/>
          <a:lstStyle/>
          <a:p>
            <a:fld id="{45DD850A-48CF-4963-9607-58D982076C8A}" type="slidenum">
              <a:rPr lang="en-US" smtClean="0"/>
              <a:t>‹#›</a:t>
            </a:fld>
            <a:endParaRPr lang="en-US" dirty="0"/>
          </a:p>
        </p:txBody>
      </p:sp>
      <p:sp>
        <p:nvSpPr>
          <p:cNvPr id="9" name="Content Placeholder 2">
            <a:extLst>
              <a:ext uri="{FF2B5EF4-FFF2-40B4-BE49-F238E27FC236}">
                <a16:creationId xmlns:a16="http://schemas.microsoft.com/office/drawing/2014/main" id="{7E1EF5F8-9AD9-4FA5-8593-375C2F92D645}"/>
              </a:ext>
            </a:extLst>
          </p:cNvPr>
          <p:cNvSpPr>
            <a:spLocks noGrp="1"/>
          </p:cNvSpPr>
          <p:nvPr>
            <p:ph idx="11" hasCustomPrompt="1"/>
          </p:nvPr>
        </p:nvSpPr>
        <p:spPr>
          <a:xfrm>
            <a:off x="1254071" y="6356350"/>
            <a:ext cx="10099729" cy="482194"/>
          </a:xfrm>
        </p:spPr>
        <p:txBody>
          <a:bodyPr anchor="ctr"/>
          <a:lstStyle>
            <a:lvl1pPr>
              <a:buNone/>
              <a:defRPr sz="900" i="1">
                <a:solidFill>
                  <a:schemeClr val="tx2"/>
                </a:solidFill>
              </a:defRPr>
            </a:lvl1pPr>
            <a:lvl2pPr>
              <a:defRPr sz="2400"/>
            </a:lvl2pPr>
            <a:lvl3pPr>
              <a:defRPr sz="2400"/>
            </a:lvl3pPr>
            <a:lvl4pPr marL="1371600" indent="0">
              <a:buNone/>
              <a:defRPr/>
            </a:lvl4pPr>
          </a:lstStyle>
          <a:p>
            <a:pPr lvl="0"/>
            <a:r>
              <a:rPr lang="en-US"/>
              <a:t>Click to edit footnotes</a:t>
            </a:r>
          </a:p>
        </p:txBody>
      </p:sp>
    </p:spTree>
    <p:extLst>
      <p:ext uri="{BB962C8B-B14F-4D97-AF65-F5344CB8AC3E}">
        <p14:creationId xmlns:p14="http://schemas.microsoft.com/office/powerpoint/2010/main" val="214459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PhAnim="0" userDrawn="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EFDBD-92DA-8013-FB65-C32B49CB1EF8}"/>
              </a:ext>
            </a:extLst>
          </p:cNvPr>
          <p:cNvSpPr>
            <a:spLocks noGrp="1"/>
          </p:cNvSpPr>
          <p:nvPr>
            <p:ph type="title" hasCustomPrompt="1"/>
          </p:nvPr>
        </p:nvSpPr>
        <p:spPr>
          <a:xfrm>
            <a:off x="1101213" y="216270"/>
            <a:ext cx="10579510" cy="798836"/>
          </a:xfrm>
          <a:prstGeom prst="rect">
            <a:avLst/>
          </a:prstGeom>
        </p:spPr>
        <p:txBody>
          <a:body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323250064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11803943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Tree>
    <p:extLst>
      <p:ext uri="{BB962C8B-B14F-4D97-AF65-F5344CB8AC3E}">
        <p14:creationId xmlns:p14="http://schemas.microsoft.com/office/powerpoint/2010/main" val="184907550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23791611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146933" y="1996751"/>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39466748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29255940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537922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7296000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dirty="0"/>
          </a:p>
        </p:txBody>
      </p:sp>
    </p:spTree>
    <p:extLst>
      <p:ext uri="{BB962C8B-B14F-4D97-AF65-F5344CB8AC3E}">
        <p14:creationId xmlns:p14="http://schemas.microsoft.com/office/powerpoint/2010/main" val="308952580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29820875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Steering</a:t>
            </a:r>
            <a:r>
              <a:rPr lang="es-CO" sz="1300" b="1">
                <a:solidFill>
                  <a:srgbClr val="FFFFFF"/>
                </a:solidFill>
                <a:latin typeface="+mj-lt"/>
              </a:rPr>
              <a:t> </a:t>
            </a:r>
            <a:r>
              <a:rPr lang="es-CO" sz="1300" b="1" err="1">
                <a:solidFill>
                  <a:srgbClr val="FFFFFF"/>
                </a:solidFill>
                <a:latin typeface="+mj-lt"/>
              </a:rPr>
              <a:t>Committee</a:t>
            </a:r>
            <a:endParaRPr lang="es-CO" sz="1300" b="1">
              <a:solidFill>
                <a:srgbClr val="FFFFFF"/>
              </a:solidFill>
              <a:latin typeface="+mj-lt"/>
            </a:endParaRP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s-CO" sz="1200">
                <a:solidFill>
                  <a:srgbClr val="304258"/>
                </a:solidFill>
                <a:latin typeface="Poppins" panose="00000500000000000000" pitchFamily="2" charset="0"/>
                <a:ea typeface="Lato"/>
                <a:cs typeface="Poppins" panose="00000500000000000000" pitchFamily="2" charset="0"/>
              </a:rPr>
              <a:t>Project </a:t>
            </a:r>
            <a:r>
              <a:rPr lang="es-CO" sz="1200" err="1">
                <a:solidFill>
                  <a:srgbClr val="304258"/>
                </a:solidFill>
                <a:latin typeface="Poppins" panose="00000500000000000000" pitchFamily="2" charset="0"/>
                <a:ea typeface="Lato"/>
                <a:cs typeface="Poppins" panose="00000500000000000000" pitchFamily="2" charset="0"/>
              </a:rPr>
              <a:t>leadership</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Decision</a:t>
            </a:r>
            <a:r>
              <a:rPr lang="es-CO" sz="1200">
                <a:solidFill>
                  <a:srgbClr val="304258"/>
                </a:solidFill>
                <a:latin typeface="Poppins" panose="00000500000000000000" pitchFamily="2" charset="0"/>
                <a:ea typeface="Lato"/>
                <a:cs typeface="Poppins" panose="00000500000000000000" pitchFamily="2" charset="0"/>
              </a:rPr>
              <a:t> </a:t>
            </a:r>
            <a:r>
              <a:rPr lang="es-CO" sz="1200" err="1">
                <a:solidFill>
                  <a:srgbClr val="304258"/>
                </a:solidFill>
                <a:latin typeface="Poppins" panose="00000500000000000000" pitchFamily="2" charset="0"/>
                <a:ea typeface="Lato"/>
                <a:cs typeface="Poppins" panose="00000500000000000000" pitchFamily="2" charset="0"/>
              </a:rPr>
              <a:t>making</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Issue</a:t>
            </a:r>
            <a:r>
              <a:rPr lang="es-CO" sz="1200">
                <a:solidFill>
                  <a:srgbClr val="304258"/>
                </a:solidFill>
                <a:latin typeface="Poppins" panose="00000500000000000000" pitchFamily="2" charset="0"/>
                <a:ea typeface="Lato"/>
                <a:cs typeface="Poppins" panose="00000500000000000000" pitchFamily="2" charset="0"/>
              </a:rPr>
              <a:t> </a:t>
            </a:r>
            <a:r>
              <a:rPr lang="es-CO" sz="1200" err="1">
                <a:solidFill>
                  <a:srgbClr val="304258"/>
                </a:solidFill>
                <a:latin typeface="Poppins" panose="00000500000000000000" pitchFamily="2" charset="0"/>
                <a:ea typeface="Lato"/>
                <a:cs typeface="Poppins" panose="00000500000000000000" pitchFamily="2" charset="0"/>
              </a:rPr>
              <a:t>resolution</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Experience</a:t>
            </a:r>
            <a:endParaRPr lang="es-CO" sz="1200">
              <a:solidFill>
                <a:srgbClr val="304258"/>
              </a:solidFill>
              <a:latin typeface="Poppins" panose="00000500000000000000" pitchFamily="2" charset="0"/>
              <a:ea typeface="Lato"/>
              <a:cs typeface="Poppins" panose="00000500000000000000" pitchFamily="2" charset="0"/>
            </a:endParaRP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s-CO">
                <a:solidFill>
                  <a:srgbClr val="304258"/>
                </a:solidFill>
                <a:latin typeface="Poppins" panose="00000500000000000000" pitchFamily="2" charset="0"/>
                <a:cs typeface="Poppins" panose="00000500000000000000" pitchFamily="2" charset="0"/>
              </a:rPr>
              <a:t>Data </a:t>
            </a:r>
            <a:r>
              <a:rPr lang="es-CO" err="1">
                <a:solidFill>
                  <a:srgbClr val="304258"/>
                </a:solidFill>
                <a:latin typeface="Poppins" panose="00000500000000000000" pitchFamily="2" charset="0"/>
                <a:cs typeface="Poppins" panose="00000500000000000000" pitchFamily="2" charset="0"/>
              </a:rPr>
              <a:t>gathering</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Analysis</a:t>
            </a:r>
            <a:r>
              <a:rPr lang="es-CO">
                <a:solidFill>
                  <a:srgbClr val="304258"/>
                </a:solidFill>
                <a:latin typeface="Poppins" panose="00000500000000000000" pitchFamily="2" charset="0"/>
                <a:cs typeface="Poppins" panose="00000500000000000000" pitchFamily="2" charset="0"/>
              </a:rPr>
              <a:t> </a:t>
            </a:r>
            <a:r>
              <a:rPr lang="es-CO" err="1">
                <a:solidFill>
                  <a:srgbClr val="304258"/>
                </a:solidFill>
                <a:latin typeface="Poppins" panose="00000500000000000000" pitchFamily="2" charset="0"/>
                <a:cs typeface="Poppins" panose="00000500000000000000" pitchFamily="2" charset="0"/>
              </a:rPr>
              <a:t>structuring</a:t>
            </a:r>
            <a:r>
              <a:rPr lang="es-CO">
                <a:solidFill>
                  <a:srgbClr val="304258"/>
                </a:solidFill>
                <a:latin typeface="Poppins" panose="00000500000000000000" pitchFamily="2" charset="0"/>
                <a:cs typeface="Poppins" panose="00000500000000000000" pitchFamily="2" charset="0"/>
              </a:rPr>
              <a:t> and </a:t>
            </a:r>
            <a:r>
              <a:rPr lang="es-CO" err="1">
                <a:solidFill>
                  <a:srgbClr val="304258"/>
                </a:solidFill>
                <a:latin typeface="Poppins" panose="00000500000000000000" pitchFamily="2" charset="0"/>
                <a:cs typeface="Poppins" panose="00000500000000000000" pitchFamily="2" charset="0"/>
              </a:rPr>
              <a:t>execution</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Technical</a:t>
            </a:r>
            <a:r>
              <a:rPr lang="es-CO">
                <a:solidFill>
                  <a:srgbClr val="304258"/>
                </a:solidFill>
                <a:latin typeface="Poppins" panose="00000500000000000000" pitchFamily="2" charset="0"/>
                <a:cs typeface="Poppins" panose="00000500000000000000" pitchFamily="2" charset="0"/>
              </a:rPr>
              <a:t> </a:t>
            </a:r>
            <a:r>
              <a:rPr lang="es-CO" err="1">
                <a:solidFill>
                  <a:srgbClr val="304258"/>
                </a:solidFill>
                <a:latin typeface="Poppins" panose="00000500000000000000" pitchFamily="2" charset="0"/>
                <a:cs typeface="Poppins" panose="00000500000000000000" pitchFamily="2" charset="0"/>
              </a:rPr>
              <a:t>expertise</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Logistics</a:t>
            </a:r>
            <a:endParaRPr lang="es-CO">
              <a:solidFill>
                <a:srgbClr val="304258"/>
              </a:solidFill>
              <a:latin typeface="Poppins" panose="00000500000000000000" pitchFamily="2" charset="0"/>
              <a:cs typeface="Poppins" panose="00000500000000000000" pitchFamily="2" charset="0"/>
            </a:endParaRP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Expertise</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a:solidFill>
                  <a:srgbClr val="304258"/>
                </a:solidFill>
                <a:latin typeface="Poppins" panose="00000500000000000000" pitchFamily="2" charset="0"/>
                <a:ea typeface="Lato"/>
                <a:cs typeface="Poppins" panose="00000500000000000000" pitchFamily="2" charset="0"/>
              </a:rPr>
              <a:t>Agile </a:t>
            </a:r>
            <a:r>
              <a:rPr lang="es-CO" sz="1200" i="0" err="1">
                <a:solidFill>
                  <a:srgbClr val="304258"/>
                </a:solidFill>
                <a:latin typeface="Poppins" panose="00000500000000000000" pitchFamily="2" charset="0"/>
                <a:ea typeface="Lato"/>
                <a:cs typeface="Poppins" panose="00000500000000000000" pitchFamily="2" charset="0"/>
              </a:rPr>
              <a:t>workflow</a:t>
            </a:r>
            <a:r>
              <a:rPr lang="es-CO" sz="1200" i="0">
                <a:solidFill>
                  <a:srgbClr val="304258"/>
                </a:solidFill>
                <a:latin typeface="Poppins" panose="00000500000000000000" pitchFamily="2" charset="0"/>
                <a:ea typeface="Lato"/>
                <a:cs typeface="Poppins" panose="00000500000000000000" pitchFamily="2" charset="0"/>
              </a:rPr>
              <a:t> </a:t>
            </a:r>
            <a:r>
              <a:rPr lang="es-CO" sz="1200" i="0" err="1">
                <a:solidFill>
                  <a:srgbClr val="304258"/>
                </a:solidFill>
                <a:latin typeface="Poppins" panose="00000500000000000000" pitchFamily="2" charset="0"/>
                <a:ea typeface="Lato"/>
                <a:cs typeface="Poppins" panose="00000500000000000000" pitchFamily="2" charset="0"/>
              </a:rPr>
              <a:t>management</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Hypothesis</a:t>
            </a:r>
            <a:r>
              <a:rPr lang="es-CO" sz="1200" i="0">
                <a:solidFill>
                  <a:srgbClr val="304258"/>
                </a:solidFill>
                <a:latin typeface="Poppins" panose="00000500000000000000" pitchFamily="2" charset="0"/>
                <a:ea typeface="Lato"/>
                <a:cs typeface="Poppins" panose="00000500000000000000" pitchFamily="2" charset="0"/>
              </a:rPr>
              <a:t> </a:t>
            </a:r>
            <a:r>
              <a:rPr lang="es-CO" sz="1200" i="0" err="1">
                <a:solidFill>
                  <a:srgbClr val="304258"/>
                </a:solidFill>
                <a:latin typeface="Poppins" panose="00000500000000000000" pitchFamily="2" charset="0"/>
                <a:ea typeface="Lato"/>
                <a:cs typeface="Poppins" panose="00000500000000000000" pitchFamily="2" charset="0"/>
              </a:rPr>
              <a:t>validation</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Recommendations</a:t>
            </a:r>
            <a:r>
              <a:rPr lang="es-CO" sz="1200" i="0">
                <a:solidFill>
                  <a:srgbClr val="304258"/>
                </a:solidFill>
                <a:latin typeface="Poppins" panose="00000500000000000000" pitchFamily="2" charset="0"/>
                <a:ea typeface="Lato"/>
                <a:cs typeface="Poppins" panose="00000500000000000000" pitchFamily="2" charset="0"/>
              </a:rPr>
              <a:t> and </a:t>
            </a:r>
            <a:r>
              <a:rPr lang="es-CO" sz="1200" i="0" err="1">
                <a:solidFill>
                  <a:srgbClr val="304258"/>
                </a:solidFill>
                <a:latin typeface="Poppins" panose="00000500000000000000" pitchFamily="2" charset="0"/>
                <a:ea typeface="Lato"/>
                <a:cs typeface="Poppins" panose="00000500000000000000" pitchFamily="2" charset="0"/>
              </a:rPr>
              <a:t>quality</a:t>
            </a:r>
            <a:r>
              <a:rPr lang="es-CO" sz="1200" i="0">
                <a:solidFill>
                  <a:srgbClr val="304258"/>
                </a:solidFill>
                <a:latin typeface="Poppins" panose="00000500000000000000" pitchFamily="2" charset="0"/>
                <a:ea typeface="Lato"/>
                <a:cs typeface="Poppins" panose="00000500000000000000" pitchFamily="2" charset="0"/>
              </a:rPr>
              <a:t>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383871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257937282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203861594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170976761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337860583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65245271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3634873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6031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15749897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229397825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lang="es-CO" sz="2000"/>
          </a:p>
        </p:txBody>
      </p:sp>
    </p:spTree>
    <p:extLst>
      <p:ext uri="{BB962C8B-B14F-4D97-AF65-F5344CB8AC3E}">
        <p14:creationId xmlns:p14="http://schemas.microsoft.com/office/powerpoint/2010/main" val="2927372159"/>
      </p:ext>
    </p:extLst>
  </p:cSld>
  <p:clrMapOvr>
    <a:masterClrMapping/>
  </p:clrMapOvr>
  <p:transition spd="slow" advTm="2000">
    <p:cover dir="d"/>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s-CO" err="1"/>
              <a:t>Insert</a:t>
            </a:r>
            <a:r>
              <a:rPr lang="es-CO"/>
              <a:t> </a:t>
            </a:r>
            <a:r>
              <a:rPr lang="es-CO" err="1"/>
              <a:t>your</a:t>
            </a:r>
            <a:r>
              <a:rPr lang="es-CO"/>
              <a:t> </a:t>
            </a:r>
            <a:r>
              <a:rPr lang="es-CO" err="1"/>
              <a:t>main</a:t>
            </a:r>
            <a:r>
              <a:rPr lang="es-CO"/>
              <a:t> </a:t>
            </a:r>
            <a:r>
              <a:rPr lang="es-CO" err="1"/>
              <a:t>title</a:t>
            </a:r>
            <a:r>
              <a:rPr lang="es-CO"/>
              <a:t> </a:t>
            </a:r>
            <a:r>
              <a:rPr lang="es-CO" err="1"/>
              <a:t>here</a:t>
            </a:r>
            <a:endParaRPr lang="es-CO"/>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err="1"/>
              <a:t>Insert</a:t>
            </a:r>
            <a:r>
              <a:rPr lang="es-CO"/>
              <a:t> </a:t>
            </a:r>
            <a:r>
              <a:rPr lang="es-CO" err="1"/>
              <a:t>your</a:t>
            </a:r>
            <a:r>
              <a:rPr lang="es-CO"/>
              <a:t> </a:t>
            </a:r>
            <a:r>
              <a:rPr lang="es-CO" err="1"/>
              <a:t>awesome</a:t>
            </a:r>
            <a:r>
              <a:rPr lang="es-CO"/>
              <a:t> </a:t>
            </a:r>
            <a:r>
              <a:rPr lang="es-CO" err="1"/>
              <a:t>subtitle</a:t>
            </a:r>
            <a:r>
              <a:rPr lang="es-CO"/>
              <a:t> </a:t>
            </a:r>
            <a:r>
              <a:rPr lang="es-CO" err="1"/>
              <a:t>here</a:t>
            </a:r>
            <a:endParaRPr lang="es-CO"/>
          </a:p>
        </p:txBody>
      </p:sp>
    </p:spTree>
    <p:extLst>
      <p:ext uri="{BB962C8B-B14F-4D97-AF65-F5344CB8AC3E}">
        <p14:creationId xmlns:p14="http://schemas.microsoft.com/office/powerpoint/2010/main" val="55122599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60519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s-CO"/>
          </a:p>
        </p:txBody>
      </p:sp>
    </p:spTree>
    <p:extLst>
      <p:ext uri="{BB962C8B-B14F-4D97-AF65-F5344CB8AC3E}">
        <p14:creationId xmlns:p14="http://schemas.microsoft.com/office/powerpoint/2010/main" val="42511036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92266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07026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Tree>
    <p:extLst>
      <p:ext uri="{BB962C8B-B14F-4D97-AF65-F5344CB8AC3E}">
        <p14:creationId xmlns:p14="http://schemas.microsoft.com/office/powerpoint/2010/main" val="154045416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155303433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146933" y="1996751"/>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1300112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38652302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dirty="0"/>
          </a:p>
        </p:txBody>
      </p:sp>
    </p:spTree>
    <p:extLst>
      <p:ext uri="{BB962C8B-B14F-4D97-AF65-F5344CB8AC3E}">
        <p14:creationId xmlns:p14="http://schemas.microsoft.com/office/powerpoint/2010/main" val="85698135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11343719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4117961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8161765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Steering</a:t>
            </a:r>
            <a:r>
              <a:rPr lang="es-CO" sz="1300" b="1">
                <a:solidFill>
                  <a:srgbClr val="FFFFFF"/>
                </a:solidFill>
                <a:latin typeface="+mj-lt"/>
              </a:rPr>
              <a:t> </a:t>
            </a:r>
            <a:r>
              <a:rPr lang="es-CO" sz="1300" b="1" err="1">
                <a:solidFill>
                  <a:srgbClr val="FFFFFF"/>
                </a:solidFill>
                <a:latin typeface="+mj-lt"/>
              </a:rPr>
              <a:t>Committee</a:t>
            </a:r>
            <a:endParaRPr lang="es-CO" sz="1300" b="1">
              <a:solidFill>
                <a:srgbClr val="FFFFFF"/>
              </a:solidFill>
              <a:latin typeface="+mj-lt"/>
            </a:endParaRP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s-CO" sz="1200">
                <a:solidFill>
                  <a:srgbClr val="304258"/>
                </a:solidFill>
                <a:latin typeface="Poppins" panose="00000500000000000000" pitchFamily="2" charset="0"/>
                <a:ea typeface="Lato"/>
                <a:cs typeface="Poppins" panose="00000500000000000000" pitchFamily="2" charset="0"/>
              </a:rPr>
              <a:t>Project </a:t>
            </a:r>
            <a:r>
              <a:rPr lang="es-CO" sz="1200" err="1">
                <a:solidFill>
                  <a:srgbClr val="304258"/>
                </a:solidFill>
                <a:latin typeface="Poppins" panose="00000500000000000000" pitchFamily="2" charset="0"/>
                <a:ea typeface="Lato"/>
                <a:cs typeface="Poppins" panose="00000500000000000000" pitchFamily="2" charset="0"/>
              </a:rPr>
              <a:t>leadership</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Decision</a:t>
            </a:r>
            <a:r>
              <a:rPr lang="es-CO" sz="1200">
                <a:solidFill>
                  <a:srgbClr val="304258"/>
                </a:solidFill>
                <a:latin typeface="Poppins" panose="00000500000000000000" pitchFamily="2" charset="0"/>
                <a:ea typeface="Lato"/>
                <a:cs typeface="Poppins" panose="00000500000000000000" pitchFamily="2" charset="0"/>
              </a:rPr>
              <a:t> </a:t>
            </a:r>
            <a:r>
              <a:rPr lang="es-CO" sz="1200" err="1">
                <a:solidFill>
                  <a:srgbClr val="304258"/>
                </a:solidFill>
                <a:latin typeface="Poppins" panose="00000500000000000000" pitchFamily="2" charset="0"/>
                <a:ea typeface="Lato"/>
                <a:cs typeface="Poppins" panose="00000500000000000000" pitchFamily="2" charset="0"/>
              </a:rPr>
              <a:t>making</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Issue</a:t>
            </a:r>
            <a:r>
              <a:rPr lang="es-CO" sz="1200">
                <a:solidFill>
                  <a:srgbClr val="304258"/>
                </a:solidFill>
                <a:latin typeface="Poppins" panose="00000500000000000000" pitchFamily="2" charset="0"/>
                <a:ea typeface="Lato"/>
                <a:cs typeface="Poppins" panose="00000500000000000000" pitchFamily="2" charset="0"/>
              </a:rPr>
              <a:t> </a:t>
            </a:r>
            <a:r>
              <a:rPr lang="es-CO" sz="1200" err="1">
                <a:solidFill>
                  <a:srgbClr val="304258"/>
                </a:solidFill>
                <a:latin typeface="Poppins" panose="00000500000000000000" pitchFamily="2" charset="0"/>
                <a:ea typeface="Lato"/>
                <a:cs typeface="Poppins" panose="00000500000000000000" pitchFamily="2" charset="0"/>
              </a:rPr>
              <a:t>resolution</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Experience</a:t>
            </a:r>
            <a:endParaRPr lang="es-CO" sz="1200">
              <a:solidFill>
                <a:srgbClr val="304258"/>
              </a:solidFill>
              <a:latin typeface="Poppins" panose="00000500000000000000" pitchFamily="2" charset="0"/>
              <a:ea typeface="Lato"/>
              <a:cs typeface="Poppins" panose="00000500000000000000" pitchFamily="2" charset="0"/>
            </a:endParaRP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s-CO">
                <a:solidFill>
                  <a:srgbClr val="304258"/>
                </a:solidFill>
                <a:latin typeface="Poppins" panose="00000500000000000000" pitchFamily="2" charset="0"/>
                <a:cs typeface="Poppins" panose="00000500000000000000" pitchFamily="2" charset="0"/>
              </a:rPr>
              <a:t>Data </a:t>
            </a:r>
            <a:r>
              <a:rPr lang="es-CO" err="1">
                <a:solidFill>
                  <a:srgbClr val="304258"/>
                </a:solidFill>
                <a:latin typeface="Poppins" panose="00000500000000000000" pitchFamily="2" charset="0"/>
                <a:cs typeface="Poppins" panose="00000500000000000000" pitchFamily="2" charset="0"/>
              </a:rPr>
              <a:t>gathering</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Analysis</a:t>
            </a:r>
            <a:r>
              <a:rPr lang="es-CO">
                <a:solidFill>
                  <a:srgbClr val="304258"/>
                </a:solidFill>
                <a:latin typeface="Poppins" panose="00000500000000000000" pitchFamily="2" charset="0"/>
                <a:cs typeface="Poppins" panose="00000500000000000000" pitchFamily="2" charset="0"/>
              </a:rPr>
              <a:t> </a:t>
            </a:r>
            <a:r>
              <a:rPr lang="es-CO" err="1">
                <a:solidFill>
                  <a:srgbClr val="304258"/>
                </a:solidFill>
                <a:latin typeface="Poppins" panose="00000500000000000000" pitchFamily="2" charset="0"/>
                <a:cs typeface="Poppins" panose="00000500000000000000" pitchFamily="2" charset="0"/>
              </a:rPr>
              <a:t>structuring</a:t>
            </a:r>
            <a:r>
              <a:rPr lang="es-CO">
                <a:solidFill>
                  <a:srgbClr val="304258"/>
                </a:solidFill>
                <a:latin typeface="Poppins" panose="00000500000000000000" pitchFamily="2" charset="0"/>
                <a:cs typeface="Poppins" panose="00000500000000000000" pitchFamily="2" charset="0"/>
              </a:rPr>
              <a:t> and </a:t>
            </a:r>
            <a:r>
              <a:rPr lang="es-CO" err="1">
                <a:solidFill>
                  <a:srgbClr val="304258"/>
                </a:solidFill>
                <a:latin typeface="Poppins" panose="00000500000000000000" pitchFamily="2" charset="0"/>
                <a:cs typeface="Poppins" panose="00000500000000000000" pitchFamily="2" charset="0"/>
              </a:rPr>
              <a:t>execution</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Technical</a:t>
            </a:r>
            <a:r>
              <a:rPr lang="es-CO">
                <a:solidFill>
                  <a:srgbClr val="304258"/>
                </a:solidFill>
                <a:latin typeface="Poppins" panose="00000500000000000000" pitchFamily="2" charset="0"/>
                <a:cs typeface="Poppins" panose="00000500000000000000" pitchFamily="2" charset="0"/>
              </a:rPr>
              <a:t> </a:t>
            </a:r>
            <a:r>
              <a:rPr lang="es-CO" err="1">
                <a:solidFill>
                  <a:srgbClr val="304258"/>
                </a:solidFill>
                <a:latin typeface="Poppins" panose="00000500000000000000" pitchFamily="2" charset="0"/>
                <a:cs typeface="Poppins" panose="00000500000000000000" pitchFamily="2" charset="0"/>
              </a:rPr>
              <a:t>expertise</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Logistics</a:t>
            </a:r>
            <a:endParaRPr lang="es-CO">
              <a:solidFill>
                <a:srgbClr val="304258"/>
              </a:solidFill>
              <a:latin typeface="Poppins" panose="00000500000000000000" pitchFamily="2" charset="0"/>
              <a:cs typeface="Poppins" panose="00000500000000000000" pitchFamily="2" charset="0"/>
            </a:endParaRP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Expertise</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a:solidFill>
                  <a:srgbClr val="304258"/>
                </a:solidFill>
                <a:latin typeface="Poppins" panose="00000500000000000000" pitchFamily="2" charset="0"/>
                <a:ea typeface="Lato"/>
                <a:cs typeface="Poppins" panose="00000500000000000000" pitchFamily="2" charset="0"/>
              </a:rPr>
              <a:t>Agile </a:t>
            </a:r>
            <a:r>
              <a:rPr lang="es-CO" sz="1200" i="0" err="1">
                <a:solidFill>
                  <a:srgbClr val="304258"/>
                </a:solidFill>
                <a:latin typeface="Poppins" panose="00000500000000000000" pitchFamily="2" charset="0"/>
                <a:ea typeface="Lato"/>
                <a:cs typeface="Poppins" panose="00000500000000000000" pitchFamily="2" charset="0"/>
              </a:rPr>
              <a:t>workflow</a:t>
            </a:r>
            <a:r>
              <a:rPr lang="es-CO" sz="1200" i="0">
                <a:solidFill>
                  <a:srgbClr val="304258"/>
                </a:solidFill>
                <a:latin typeface="Poppins" panose="00000500000000000000" pitchFamily="2" charset="0"/>
                <a:ea typeface="Lato"/>
                <a:cs typeface="Poppins" panose="00000500000000000000" pitchFamily="2" charset="0"/>
              </a:rPr>
              <a:t> </a:t>
            </a:r>
            <a:r>
              <a:rPr lang="es-CO" sz="1200" i="0" err="1">
                <a:solidFill>
                  <a:srgbClr val="304258"/>
                </a:solidFill>
                <a:latin typeface="Poppins" panose="00000500000000000000" pitchFamily="2" charset="0"/>
                <a:ea typeface="Lato"/>
                <a:cs typeface="Poppins" panose="00000500000000000000" pitchFamily="2" charset="0"/>
              </a:rPr>
              <a:t>management</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Hypothesis</a:t>
            </a:r>
            <a:r>
              <a:rPr lang="es-CO" sz="1200" i="0">
                <a:solidFill>
                  <a:srgbClr val="304258"/>
                </a:solidFill>
                <a:latin typeface="Poppins" panose="00000500000000000000" pitchFamily="2" charset="0"/>
                <a:ea typeface="Lato"/>
                <a:cs typeface="Poppins" panose="00000500000000000000" pitchFamily="2" charset="0"/>
              </a:rPr>
              <a:t> </a:t>
            </a:r>
            <a:r>
              <a:rPr lang="es-CO" sz="1200" i="0" err="1">
                <a:solidFill>
                  <a:srgbClr val="304258"/>
                </a:solidFill>
                <a:latin typeface="Poppins" panose="00000500000000000000" pitchFamily="2" charset="0"/>
                <a:ea typeface="Lato"/>
                <a:cs typeface="Poppins" panose="00000500000000000000" pitchFamily="2" charset="0"/>
              </a:rPr>
              <a:t>validation</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Recommendations</a:t>
            </a:r>
            <a:r>
              <a:rPr lang="es-CO" sz="1200" i="0">
                <a:solidFill>
                  <a:srgbClr val="304258"/>
                </a:solidFill>
                <a:latin typeface="Poppins" panose="00000500000000000000" pitchFamily="2" charset="0"/>
                <a:ea typeface="Lato"/>
                <a:cs typeface="Poppins" panose="00000500000000000000" pitchFamily="2" charset="0"/>
              </a:rPr>
              <a:t> and </a:t>
            </a:r>
            <a:r>
              <a:rPr lang="es-CO" sz="1200" i="0" err="1">
                <a:solidFill>
                  <a:srgbClr val="304258"/>
                </a:solidFill>
                <a:latin typeface="Poppins" panose="00000500000000000000" pitchFamily="2" charset="0"/>
                <a:ea typeface="Lato"/>
                <a:cs typeface="Poppins" panose="00000500000000000000" pitchFamily="2" charset="0"/>
              </a:rPr>
              <a:t>quality</a:t>
            </a:r>
            <a:r>
              <a:rPr lang="es-CO" sz="1200" i="0">
                <a:solidFill>
                  <a:srgbClr val="304258"/>
                </a:solidFill>
                <a:latin typeface="Poppins" panose="00000500000000000000" pitchFamily="2" charset="0"/>
                <a:ea typeface="Lato"/>
                <a:cs typeface="Poppins" panose="00000500000000000000" pitchFamily="2" charset="0"/>
              </a:rPr>
              <a:t>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250922745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38435664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202149179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err="1"/>
              <a:t>Click</a:t>
            </a:r>
            <a:r>
              <a:rPr lang="es-CO"/>
              <a:t> to </a:t>
            </a:r>
            <a:r>
              <a:rPr lang="es-CO" err="1"/>
              <a:t>edit</a:t>
            </a:r>
            <a:r>
              <a:rPr lang="es-CO"/>
              <a:t> Master </a:t>
            </a:r>
            <a:r>
              <a:rPr lang="es-CO" err="1"/>
              <a:t>text</a:t>
            </a:r>
            <a:r>
              <a:rPr lang="es-CO"/>
              <a:t> </a:t>
            </a:r>
            <a:r>
              <a:rPr lang="es-CO" err="1"/>
              <a:t>style</a:t>
            </a:r>
            <a:endParaRPr lang="es-CO"/>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350072809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338568975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229977326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5614095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dirty="0"/>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dirty="0"/>
          </a:p>
        </p:txBody>
      </p:sp>
    </p:spTree>
    <p:extLst>
      <p:ext uri="{BB962C8B-B14F-4D97-AF65-F5344CB8AC3E}">
        <p14:creationId xmlns:p14="http://schemas.microsoft.com/office/powerpoint/2010/main" val="225944421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46950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201973122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lang="es-CO" sz="2000"/>
          </a:p>
        </p:txBody>
      </p:sp>
    </p:spTree>
    <p:extLst>
      <p:ext uri="{BB962C8B-B14F-4D97-AF65-F5344CB8AC3E}">
        <p14:creationId xmlns:p14="http://schemas.microsoft.com/office/powerpoint/2010/main" val="2150521546"/>
      </p:ext>
    </p:extLst>
  </p:cSld>
  <p:clrMapOvr>
    <a:masterClrMapping/>
  </p:clrMapOvr>
  <p:transition spd="slow" advTm="2000">
    <p:cover dir="d"/>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s-CO" err="1"/>
              <a:t>Insert</a:t>
            </a:r>
            <a:r>
              <a:rPr lang="es-CO"/>
              <a:t> </a:t>
            </a:r>
            <a:r>
              <a:rPr lang="es-CO" err="1"/>
              <a:t>your</a:t>
            </a:r>
            <a:r>
              <a:rPr lang="es-CO"/>
              <a:t> </a:t>
            </a:r>
            <a:r>
              <a:rPr lang="es-CO" err="1"/>
              <a:t>main</a:t>
            </a:r>
            <a:r>
              <a:rPr lang="es-CO"/>
              <a:t> </a:t>
            </a:r>
            <a:r>
              <a:rPr lang="es-CO" err="1"/>
              <a:t>title</a:t>
            </a:r>
            <a:r>
              <a:rPr lang="es-CO"/>
              <a:t> </a:t>
            </a:r>
            <a:r>
              <a:rPr lang="es-CO" err="1"/>
              <a:t>here</a:t>
            </a:r>
            <a:endParaRPr lang="es-CO"/>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err="1"/>
              <a:t>Insert</a:t>
            </a:r>
            <a:r>
              <a:rPr lang="es-CO"/>
              <a:t> </a:t>
            </a:r>
            <a:r>
              <a:rPr lang="es-CO" err="1"/>
              <a:t>your</a:t>
            </a:r>
            <a:r>
              <a:rPr lang="es-CO"/>
              <a:t> </a:t>
            </a:r>
            <a:r>
              <a:rPr lang="es-CO" err="1"/>
              <a:t>awesome</a:t>
            </a:r>
            <a:r>
              <a:rPr lang="es-CO"/>
              <a:t> </a:t>
            </a:r>
            <a:r>
              <a:rPr lang="es-CO" err="1"/>
              <a:t>subtitle</a:t>
            </a:r>
            <a:r>
              <a:rPr lang="es-CO"/>
              <a:t> </a:t>
            </a:r>
            <a:r>
              <a:rPr lang="es-CO" err="1"/>
              <a:t>here</a:t>
            </a:r>
            <a:endParaRPr lang="es-CO"/>
          </a:p>
        </p:txBody>
      </p:sp>
    </p:spTree>
    <p:extLst>
      <p:ext uri="{BB962C8B-B14F-4D97-AF65-F5344CB8AC3E}">
        <p14:creationId xmlns:p14="http://schemas.microsoft.com/office/powerpoint/2010/main" val="410923407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509532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s-CO"/>
          </a:p>
        </p:txBody>
      </p:sp>
    </p:spTree>
    <p:extLst>
      <p:ext uri="{BB962C8B-B14F-4D97-AF65-F5344CB8AC3E}">
        <p14:creationId xmlns:p14="http://schemas.microsoft.com/office/powerpoint/2010/main" val="258652042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84723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238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Diapositiva de título">
    <p:bg>
      <p:bgPr>
        <a:solidFill>
          <a:srgbClr val="6200EE"/>
        </a:solidFill>
        <a:effectLst/>
      </p:bgPr>
    </p:bg>
    <p:spTree>
      <p:nvGrpSpPr>
        <p:cNvPr id="1" name=""/>
        <p:cNvGrpSpPr/>
        <p:nvPr/>
      </p:nvGrpSpPr>
      <p:grpSpPr>
        <a:xfrm>
          <a:off x="0" y="0"/>
          <a:ext cx="0" cy="0"/>
          <a:chOff x="0" y="0"/>
          <a:chExt cx="0" cy="0"/>
        </a:xfrm>
      </p:grpSpPr>
      <p:sp>
        <p:nvSpPr>
          <p:cNvPr id="18" name="Rectángulo 17">
            <a:extLst>
              <a:ext uri="{FF2B5EF4-FFF2-40B4-BE49-F238E27FC236}">
                <a16:creationId xmlns:a16="http://schemas.microsoft.com/office/drawing/2014/main" id="{2C45CAB7-E555-477D-8189-2B7491681184}"/>
              </a:ext>
            </a:extLst>
          </p:cNvPr>
          <p:cNvSpPr/>
          <p:nvPr userDrawn="1"/>
        </p:nvSpPr>
        <p:spPr>
          <a:xfrm>
            <a:off x="689236" y="14109"/>
            <a:ext cx="11500926" cy="6858000"/>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3" name="Imagen 2" descr="Icono&#10;&#10;Descripción generada automáticamente con confianza media">
            <a:extLst>
              <a:ext uri="{FF2B5EF4-FFF2-40B4-BE49-F238E27FC236}">
                <a16:creationId xmlns:a16="http://schemas.microsoft.com/office/drawing/2014/main" id="{74C8951A-C480-6462-08BC-10A53B3A8F90}"/>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02885" y="5891327"/>
            <a:ext cx="575295" cy="134562"/>
          </a:xfrm>
          <a:prstGeom prst="rect">
            <a:avLst/>
          </a:prstGeom>
        </p:spPr>
      </p:pic>
      <p:sp>
        <p:nvSpPr>
          <p:cNvPr id="4" name="Picture Placeholder 3">
            <a:extLst>
              <a:ext uri="{FF2B5EF4-FFF2-40B4-BE49-F238E27FC236}">
                <a16:creationId xmlns:a16="http://schemas.microsoft.com/office/drawing/2014/main" id="{8BD6049C-2BE0-EF10-DADE-AC579DA7BE0B}"/>
              </a:ext>
            </a:extLst>
          </p:cNvPr>
          <p:cNvSpPr>
            <a:spLocks noGrp="1"/>
          </p:cNvSpPr>
          <p:nvPr>
            <p:ph type="pic" sz="quarter" idx="12" hasCustomPrompt="1"/>
          </p:nvPr>
        </p:nvSpPr>
        <p:spPr>
          <a:xfrm>
            <a:off x="165174" y="256186"/>
            <a:ext cx="450715" cy="420241"/>
          </a:xfrm>
          <a:prstGeom prst="rect">
            <a:avLst/>
          </a:prstGeom>
          <a:solidFill>
            <a:srgbClr val="FFFFFF"/>
          </a:solidFill>
        </p:spPr>
        <p:txBody>
          <a:bodyPr anchor="ctr"/>
          <a:lstStyle>
            <a:lvl1pPr marL="0" indent="0" algn="ctr">
              <a:lnSpc>
                <a:spcPct val="100000"/>
              </a:lnSpc>
              <a:spcBef>
                <a:spcPts val="0"/>
              </a:spcBef>
              <a:buNone/>
              <a:defRPr sz="800"/>
            </a:lvl1pPr>
          </a:lstStyle>
          <a:p>
            <a:r>
              <a:rPr lang="es-CO"/>
              <a:t>Logo </a:t>
            </a:r>
            <a:r>
              <a:rPr lang="es-CO" err="1"/>
              <a:t>here</a:t>
            </a:r>
            <a:endParaRPr lang="es-CO"/>
          </a:p>
        </p:txBody>
      </p:sp>
      <p:pic>
        <p:nvPicPr>
          <p:cNvPr id="2" name="Imagen 1">
            <a:extLst>
              <a:ext uri="{FF2B5EF4-FFF2-40B4-BE49-F238E27FC236}">
                <a16:creationId xmlns:a16="http://schemas.microsoft.com/office/drawing/2014/main" id="{1DDF743D-84E8-283F-CA04-39DF11D6369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2894" b="29825"/>
          <a:stretch/>
        </p:blipFill>
        <p:spPr>
          <a:xfrm>
            <a:off x="7682948" y="0"/>
            <a:ext cx="4507214" cy="3776869"/>
          </a:xfrm>
          <a:prstGeom prst="rect">
            <a:avLst/>
          </a:prstGeom>
        </p:spPr>
      </p:pic>
      <p:pic>
        <p:nvPicPr>
          <p:cNvPr id="13" name="Imagen 12">
            <a:extLst>
              <a:ext uri="{FF2B5EF4-FFF2-40B4-BE49-F238E27FC236}">
                <a16:creationId xmlns:a16="http://schemas.microsoft.com/office/drawing/2014/main" id="{CBC25A27-9213-84A3-598C-F57C17AAE0BE}"/>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022"/>
          <a:stretch/>
        </p:blipFill>
        <p:spPr>
          <a:xfrm>
            <a:off x="-19878" y="-59636"/>
            <a:ext cx="709114" cy="7005491"/>
          </a:xfrm>
          <a:prstGeom prst="rect">
            <a:avLst/>
          </a:prstGeom>
        </p:spPr>
      </p:pic>
      <p:sp>
        <p:nvSpPr>
          <p:cNvPr id="14" name="CuadroTexto 13">
            <a:extLst>
              <a:ext uri="{FF2B5EF4-FFF2-40B4-BE49-F238E27FC236}">
                <a16:creationId xmlns:a16="http://schemas.microsoft.com/office/drawing/2014/main" id="{9CDB012D-2DC6-5198-5895-EF0C9908164A}"/>
              </a:ext>
            </a:extLst>
          </p:cNvPr>
          <p:cNvSpPr txBox="1"/>
          <p:nvPr userDrawn="1"/>
        </p:nvSpPr>
        <p:spPr>
          <a:xfrm>
            <a:off x="68589" y="6377303"/>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sp>
        <p:nvSpPr>
          <p:cNvPr id="15" name="Picture Placeholder 3">
            <a:extLst>
              <a:ext uri="{FF2B5EF4-FFF2-40B4-BE49-F238E27FC236}">
                <a16:creationId xmlns:a16="http://schemas.microsoft.com/office/drawing/2014/main" id="{7D3934DA-DEF7-F811-068B-4A51B78FC153}"/>
              </a:ext>
            </a:extLst>
          </p:cNvPr>
          <p:cNvSpPr txBox="1">
            <a:spLocks/>
          </p:cNvSpPr>
          <p:nvPr userDrawn="1"/>
        </p:nvSpPr>
        <p:spPr>
          <a:xfrm>
            <a:off x="74715" y="256186"/>
            <a:ext cx="450715" cy="420241"/>
          </a:xfrm>
          <a:prstGeom prst="rect">
            <a:avLst/>
          </a:prstGeom>
          <a:solidFill>
            <a:srgbClr val="FFFFFF"/>
          </a:solidFill>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O" sz="800"/>
              <a:t>Logo </a:t>
            </a:r>
            <a:r>
              <a:rPr lang="es-CO" sz="800" err="1"/>
              <a:t>here</a:t>
            </a:r>
            <a:endParaRPr lang="es-CO" sz="800"/>
          </a:p>
        </p:txBody>
      </p:sp>
      <p:pic>
        <p:nvPicPr>
          <p:cNvPr id="16" name="Imagen 15">
            <a:extLst>
              <a:ext uri="{FF2B5EF4-FFF2-40B4-BE49-F238E27FC236}">
                <a16:creationId xmlns:a16="http://schemas.microsoft.com/office/drawing/2014/main" id="{BD78D05C-087B-1E44-804F-1F81BD23648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641" y="5536094"/>
            <a:ext cx="228820" cy="749685"/>
          </a:xfrm>
          <a:prstGeom prst="rect">
            <a:avLst/>
          </a:prstGeom>
        </p:spPr>
      </p:pic>
      <p:pic>
        <p:nvPicPr>
          <p:cNvPr id="17" name="Imagen 16">
            <a:extLst>
              <a:ext uri="{FF2B5EF4-FFF2-40B4-BE49-F238E27FC236}">
                <a16:creationId xmlns:a16="http://schemas.microsoft.com/office/drawing/2014/main" id="{A138518B-97DE-9DDD-2C97-EB58C5E3A06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6200000">
            <a:off x="69748" y="6452047"/>
            <a:ext cx="403481" cy="546652"/>
          </a:xfrm>
          <a:prstGeom prst="rect">
            <a:avLst/>
          </a:prstGeom>
        </p:spPr>
      </p:pic>
    </p:spTree>
    <p:extLst>
      <p:ext uri="{BB962C8B-B14F-4D97-AF65-F5344CB8AC3E}">
        <p14:creationId xmlns:p14="http://schemas.microsoft.com/office/powerpoint/2010/main" val="129093748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71CE73B9-8DF5-AE9C-B619-9D3AC0FB5C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Marcador de fecha 3">
            <a:extLst>
              <a:ext uri="{FF2B5EF4-FFF2-40B4-BE49-F238E27FC236}">
                <a16:creationId xmlns:a16="http://schemas.microsoft.com/office/drawing/2014/main" id="{03C87284-7CAD-029F-8705-752521FE8695}"/>
              </a:ext>
            </a:extLst>
          </p:cNvPr>
          <p:cNvSpPr>
            <a:spLocks noGrp="1"/>
          </p:cNvSpPr>
          <p:nvPr>
            <p:ph type="dt" sz="half" idx="10"/>
          </p:nvPr>
        </p:nvSpPr>
        <p:spPr>
          <a:xfrm>
            <a:off x="1989488" y="2064510"/>
            <a:ext cx="5147293" cy="365125"/>
          </a:xfrm>
          <a:prstGeom prst="rect">
            <a:avLst/>
          </a:prstGeom>
        </p:spPr>
        <p:txBody>
          <a:bodyPr/>
          <a:lstStyle>
            <a:lvl1pPr marL="0" indent="0" algn="l">
              <a:buFont typeface="Arial" panose="020B0604020202020204" pitchFamily="34" charset="0"/>
              <a:buNone/>
              <a:defRPr sz="6600" b="0" i="0">
                <a:solidFill>
                  <a:srgbClr val="442E98"/>
                </a:solidFill>
                <a:latin typeface="Poppins Medium" pitchFamily="2" charset="77"/>
                <a:cs typeface="Poppins Medium" pitchFamily="2" charset="77"/>
              </a:defRPr>
            </a:lvl1pPr>
          </a:lstStyle>
          <a:p>
            <a:r>
              <a:rPr lang="es-CO"/>
              <a:t>TÍTULO</a:t>
            </a:r>
          </a:p>
        </p:txBody>
      </p:sp>
      <p:sp>
        <p:nvSpPr>
          <p:cNvPr id="3" name="Marcador de fecha 3">
            <a:extLst>
              <a:ext uri="{FF2B5EF4-FFF2-40B4-BE49-F238E27FC236}">
                <a16:creationId xmlns:a16="http://schemas.microsoft.com/office/drawing/2014/main" id="{054D8A8B-DE6E-298B-E9B8-53DA8B7B2B92}"/>
              </a:ext>
            </a:extLst>
          </p:cNvPr>
          <p:cNvSpPr txBox="1">
            <a:spLocks/>
          </p:cNvSpPr>
          <p:nvPr userDrawn="1"/>
        </p:nvSpPr>
        <p:spPr>
          <a:xfrm>
            <a:off x="2487576" y="2819076"/>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O" b="0" i="0">
                <a:solidFill>
                  <a:srgbClr val="8D80FE"/>
                </a:solidFill>
                <a:latin typeface="Poppins Medium" pitchFamily="2" charset="77"/>
                <a:cs typeface="Poppins Medium" pitchFamily="2" charset="77"/>
              </a:rPr>
              <a:t>PROYECTO</a:t>
            </a:r>
          </a:p>
        </p:txBody>
      </p:sp>
      <p:sp>
        <p:nvSpPr>
          <p:cNvPr id="6" name="Marcador de fecha 3">
            <a:extLst>
              <a:ext uri="{FF2B5EF4-FFF2-40B4-BE49-F238E27FC236}">
                <a16:creationId xmlns:a16="http://schemas.microsoft.com/office/drawing/2014/main" id="{48526D49-0362-91A2-D6F0-A88EF0049DF8}"/>
              </a:ext>
            </a:extLst>
          </p:cNvPr>
          <p:cNvSpPr txBox="1">
            <a:spLocks/>
          </p:cNvSpPr>
          <p:nvPr userDrawn="1"/>
        </p:nvSpPr>
        <p:spPr>
          <a:xfrm>
            <a:off x="2487576" y="4096130"/>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s-CO" sz="1800" b="0" i="0" u="none" strike="noStrike" kern="1200" cap="none" spc="0" normalizeH="0" baseline="0" noProof="0">
                <a:ln>
                  <a:noFill/>
                </a:ln>
                <a:solidFill>
                  <a:srgbClr val="D5B9FF"/>
                </a:solidFill>
                <a:effectLst/>
                <a:uLnTx/>
                <a:uFillTx/>
                <a:latin typeface="Poppins Light"/>
                <a:ea typeface="+mn-ea"/>
                <a:cs typeface="+mn-cs"/>
              </a:rPr>
              <a:t>Friday, March 22, 2024</a:t>
            </a: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a:p>
            <a:endParaRPr lang="es-CO" b="0">
              <a:solidFill>
                <a:schemeClr val="bg2">
                  <a:lumMod val="50000"/>
                </a:schemeClr>
              </a:solidFill>
            </a:endParaRPr>
          </a:p>
        </p:txBody>
      </p:sp>
      <p:sp>
        <p:nvSpPr>
          <p:cNvPr id="7" name="Marcador de fecha 3">
            <a:extLst>
              <a:ext uri="{FF2B5EF4-FFF2-40B4-BE49-F238E27FC236}">
                <a16:creationId xmlns:a16="http://schemas.microsoft.com/office/drawing/2014/main" id="{EDB26460-9DEC-831B-19A5-7337CA685E74}"/>
              </a:ext>
            </a:extLst>
          </p:cNvPr>
          <p:cNvSpPr txBox="1">
            <a:spLocks/>
          </p:cNvSpPr>
          <p:nvPr userDrawn="1"/>
        </p:nvSpPr>
        <p:spPr>
          <a:xfrm>
            <a:off x="2487576" y="3736766"/>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O">
                <a:solidFill>
                  <a:srgbClr val="40009E"/>
                </a:solidFill>
              </a:rPr>
              <a:t>Descripción</a:t>
            </a:r>
          </a:p>
        </p:txBody>
      </p:sp>
      <p:sp>
        <p:nvSpPr>
          <p:cNvPr id="8" name="CuadroTexto 7">
            <a:extLst>
              <a:ext uri="{FF2B5EF4-FFF2-40B4-BE49-F238E27FC236}">
                <a16:creationId xmlns:a16="http://schemas.microsoft.com/office/drawing/2014/main" id="{201AFD48-EFA7-DA6F-190D-D68CB28B704C}"/>
              </a:ext>
            </a:extLst>
          </p:cNvPr>
          <p:cNvSpPr txBox="1"/>
          <p:nvPr userDrawn="1"/>
        </p:nvSpPr>
        <p:spPr>
          <a:xfrm>
            <a:off x="6096000" y="4959201"/>
            <a:ext cx="5780049" cy="1831271"/>
          </a:xfrm>
          <a:prstGeom prst="rect">
            <a:avLst/>
          </a:prstGeom>
          <a:noFill/>
        </p:spPr>
        <p:txBody>
          <a:bodyPr wrap="square" rtlCol="0">
            <a:spAutoFit/>
          </a:bodyPr>
          <a:lstStyle/>
          <a:p>
            <a:pPr algn="r"/>
            <a:r>
              <a:rPr lang="es-CO" sz="3200" b="1" i="0" u="none">
                <a:solidFill>
                  <a:srgbClr val="442E98"/>
                </a:solidFill>
                <a:effectLst/>
                <a:latin typeface="+mj-lt"/>
                <a:cs typeface="Poppins Medium" pitchFamily="2" charset="77"/>
                <a:hlinkClick r:id="rId3">
                  <a:extLst>
                    <a:ext uri="{A12FA001-AC4F-418D-AE19-62706E023703}">
                      <ahyp:hlinkClr xmlns:ahyp="http://schemas.microsoft.com/office/drawing/2018/hyperlinkcolor" val="tx"/>
                    </a:ext>
                  </a:extLst>
                </a:hlinkClick>
              </a:rPr>
              <a:t>www.iotaimpact.com</a:t>
            </a:r>
            <a:endParaRPr lang="es-CO" sz="3200" b="1" i="0" u="none">
              <a:solidFill>
                <a:srgbClr val="442E98"/>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u="none">
                <a:solidFill>
                  <a:srgbClr val="4F37A3"/>
                </a:solidFill>
                <a:effectLst/>
                <a:latin typeface="+mj-lt"/>
                <a:cs typeface="Poppins" pitchFamily="2" charset="77"/>
                <a:hlinkClick r:id="rId4"/>
              </a:rPr>
              <a:t>andres@iotaimpact.com</a:t>
            </a:r>
            <a:endParaRPr lang="es-CO" i="0" u="none">
              <a:solidFill>
                <a:srgbClr val="4F37A3"/>
              </a:solidFill>
              <a:effectLst/>
              <a:latin typeface="+mj-lt"/>
              <a:cs typeface="Poppins"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a:solidFill>
                  <a:srgbClr val="442E98"/>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a:solidFill>
                  <a:srgbClr val="442E98"/>
                </a:solidFill>
                <a:effectLst/>
                <a:latin typeface="+mj-lt"/>
              </a:rPr>
              <a:t>@iotaimpactlatam</a:t>
            </a:r>
            <a:endParaRPr lang="es-CO">
              <a:solidFill>
                <a:srgbClr val="442E98"/>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err="1">
                <a:solidFill>
                  <a:srgbClr val="545454"/>
                </a:solidFill>
                <a:effectLst/>
                <a:latin typeface="+mj-lt"/>
              </a:rPr>
              <a:t>Confidential</a:t>
            </a:r>
            <a:r>
              <a:rPr lang="es-CO" sz="900" i="1">
                <a:solidFill>
                  <a:srgbClr val="545454"/>
                </a:solidFill>
                <a:effectLst/>
                <a:latin typeface="+mj-lt"/>
              </a:rPr>
              <a:t> and </a:t>
            </a:r>
            <a:r>
              <a:rPr lang="es-CO" sz="900" i="1" err="1">
                <a:solidFill>
                  <a:srgbClr val="545454"/>
                </a:solidFill>
                <a:effectLst/>
                <a:latin typeface="+mj-lt"/>
              </a:rPr>
              <a:t>proprietary</a:t>
            </a:r>
            <a:r>
              <a:rPr lang="es-CO" sz="900" i="1">
                <a:solidFill>
                  <a:srgbClr val="545454"/>
                </a:solidFill>
                <a:effectLst/>
                <a:latin typeface="+mj-lt"/>
              </a:rPr>
              <a:t>. </a:t>
            </a:r>
            <a:r>
              <a:rPr lang="es-CO" sz="900" i="1" err="1">
                <a:solidFill>
                  <a:srgbClr val="545454"/>
                </a:solidFill>
                <a:effectLst/>
                <a:latin typeface="+mj-lt"/>
              </a:rPr>
              <a:t>Not</a:t>
            </a:r>
            <a:r>
              <a:rPr lang="es-CO" sz="900" i="1">
                <a:solidFill>
                  <a:srgbClr val="545454"/>
                </a:solidFill>
                <a:effectLst/>
                <a:latin typeface="+mj-lt"/>
              </a:rPr>
              <a:t> </a:t>
            </a:r>
            <a:r>
              <a:rPr lang="es-CO" sz="900" i="1" err="1">
                <a:solidFill>
                  <a:srgbClr val="545454"/>
                </a:solidFill>
                <a:effectLst/>
                <a:latin typeface="+mj-lt"/>
              </a:rPr>
              <a:t>for</a:t>
            </a:r>
            <a:r>
              <a:rPr lang="es-CO" sz="900" i="1">
                <a:solidFill>
                  <a:srgbClr val="545454"/>
                </a:solidFill>
                <a:effectLst/>
                <a:latin typeface="+mj-lt"/>
              </a:rPr>
              <a:t> </a:t>
            </a:r>
            <a:r>
              <a:rPr lang="es-CO" sz="900" i="1" err="1">
                <a:solidFill>
                  <a:srgbClr val="545454"/>
                </a:solidFill>
                <a:effectLst/>
                <a:latin typeface="+mj-lt"/>
              </a:rPr>
              <a:t>distribution</a:t>
            </a:r>
            <a:r>
              <a:rPr lang="es-CO" sz="900" i="1">
                <a:solidFill>
                  <a:srgbClr val="545454"/>
                </a:solidFill>
                <a:effectLst/>
                <a:latin typeface="+mj-lt"/>
              </a:rPr>
              <a:t> </a:t>
            </a:r>
            <a:r>
              <a:rPr lang="es-CO" sz="900" i="1" err="1">
                <a:solidFill>
                  <a:srgbClr val="545454"/>
                </a:solidFill>
                <a:effectLst/>
                <a:latin typeface="+mj-lt"/>
              </a:rPr>
              <a:t>without</a:t>
            </a:r>
            <a:r>
              <a:rPr lang="es-CO" sz="900" i="1">
                <a:solidFill>
                  <a:srgbClr val="545454"/>
                </a:solidFill>
                <a:effectLst/>
                <a:latin typeface="+mj-lt"/>
              </a:rPr>
              <a:t> IOTA </a:t>
            </a:r>
            <a:r>
              <a:rPr lang="es-CO" sz="900" i="1" err="1">
                <a:solidFill>
                  <a:srgbClr val="545454"/>
                </a:solidFill>
                <a:effectLst/>
                <a:latin typeface="+mj-lt"/>
              </a:rPr>
              <a:t>Impact's</a:t>
            </a:r>
            <a:r>
              <a:rPr lang="es-CO" sz="900" i="1">
                <a:solidFill>
                  <a:srgbClr val="545454"/>
                </a:solidFill>
                <a:effectLst/>
                <a:latin typeface="+mj-lt"/>
              </a:rPr>
              <a:t> </a:t>
            </a:r>
            <a:r>
              <a:rPr lang="es-CO" sz="900" i="1" err="1">
                <a:solidFill>
                  <a:srgbClr val="545454"/>
                </a:solidFill>
                <a:effectLst/>
                <a:latin typeface="+mj-lt"/>
              </a:rPr>
              <a:t>permission</a:t>
            </a:r>
            <a:r>
              <a:rPr lang="es-CO" sz="900" i="1">
                <a:solidFill>
                  <a:srgbClr val="545454"/>
                </a:solidFill>
                <a:effectLst/>
                <a:latin typeface="+mj-lt"/>
              </a:rPr>
              <a:t>.</a:t>
            </a:r>
            <a:endParaRPr lang="es-CO" sz="900">
              <a:solidFill>
                <a:srgbClr val="545454"/>
              </a:solidFill>
              <a:effectLst/>
              <a:latin typeface="+mj-lt"/>
            </a:endParaRPr>
          </a:p>
          <a:p>
            <a:endParaRPr lang="es-CO"/>
          </a:p>
        </p:txBody>
      </p:sp>
      <p:pic>
        <p:nvPicPr>
          <p:cNvPr id="9" name="Imagen 8">
            <a:extLst>
              <a:ext uri="{FF2B5EF4-FFF2-40B4-BE49-F238E27FC236}">
                <a16:creationId xmlns:a16="http://schemas.microsoft.com/office/drawing/2014/main" id="{431FDA5F-5849-92E9-1285-CECA8E08B602}"/>
              </a:ext>
            </a:extLst>
          </p:cNvPr>
          <p:cNvPicPr>
            <a:picLocks noChangeAspect="1"/>
          </p:cNvPicPr>
          <p:nvPr userDrawn="1"/>
        </p:nvPicPr>
        <p:blipFill>
          <a:blip r:embed="rId5">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8878571" y="5813876"/>
            <a:ext cx="668049" cy="668049"/>
          </a:xfrm>
          <a:prstGeom prst="rect">
            <a:avLst/>
          </a:prstGeom>
        </p:spPr>
      </p:pic>
    </p:spTree>
    <p:extLst>
      <p:ext uri="{BB962C8B-B14F-4D97-AF65-F5344CB8AC3E}">
        <p14:creationId xmlns:p14="http://schemas.microsoft.com/office/powerpoint/2010/main" val="2270215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0E2BCCB-F0F8-A646-9DA1-7B850054F5F1}"/>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8DA4C553-73BB-ADD9-D970-E3A5A352197D}"/>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B77287E5-4880-980F-103E-3D3EC3151B37}"/>
              </a:ext>
            </a:extLst>
          </p:cNvPr>
          <p:cNvSpPr>
            <a:spLocks noGrp="1"/>
          </p:cNvSpPr>
          <p:nvPr>
            <p:ph type="dt" sz="half" idx="10"/>
          </p:nvPr>
        </p:nvSpPr>
        <p:spPr/>
        <p:txBody>
          <a:bodyPr/>
          <a:lstStyle/>
          <a:p>
            <a:fld id="{CC6D5CC4-0345-4E26-9700-A0902D5C5D76}" type="datetime1">
              <a:rPr lang="es-ES_tradnl" smtClean="0"/>
              <a:t>10/07/2024</a:t>
            </a:fld>
            <a:endParaRPr lang="es-CO"/>
          </a:p>
        </p:txBody>
      </p:sp>
      <p:sp>
        <p:nvSpPr>
          <p:cNvPr id="5" name="Marcador de pie de página 4">
            <a:extLst>
              <a:ext uri="{FF2B5EF4-FFF2-40B4-BE49-F238E27FC236}">
                <a16:creationId xmlns:a16="http://schemas.microsoft.com/office/drawing/2014/main" id="{9ECED5A3-878B-5560-42CF-4C7509F9F7B8}"/>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3E1B1064-8ED7-6859-0395-8BEC1AFD5A1F}"/>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2869923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dirty="0"/>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89178706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33C2EF6-FF41-A380-2335-188ECDC1E5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4" name="Imagen 3">
            <a:extLst>
              <a:ext uri="{FF2B5EF4-FFF2-40B4-BE49-F238E27FC236}">
                <a16:creationId xmlns:a16="http://schemas.microsoft.com/office/drawing/2014/main" id="{BC5B5A36-B8D4-FD41-7861-A56827561A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Marcador de fecha 3">
            <a:extLst>
              <a:ext uri="{FF2B5EF4-FFF2-40B4-BE49-F238E27FC236}">
                <a16:creationId xmlns:a16="http://schemas.microsoft.com/office/drawing/2014/main" id="{3CAD54C9-2123-2734-9CC0-019C91BAFEE3}"/>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s-CO"/>
              <a:t>TÍTULO</a:t>
            </a:r>
          </a:p>
          <a:p>
            <a:r>
              <a:rPr lang="es-CO"/>
              <a:t>  PROYEC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0" i="0" u="none" strike="noStrike" kern="1200" cap="none" spc="0" normalizeH="0" baseline="0" noProof="0">
                <a:ln>
                  <a:noFill/>
                </a:ln>
                <a:solidFill>
                  <a:srgbClr val="FFFFFF"/>
                </a:solidFill>
                <a:effectLst/>
                <a:uLnTx/>
                <a:uFillTx/>
                <a:latin typeface="Poppins Light"/>
                <a:ea typeface="+mn-ea"/>
                <a:cs typeface="+mn-cs"/>
              </a:rPr>
              <a:t>         Descripció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0" i="0" u="none" strike="noStrike" kern="1200" cap="none" spc="0" normalizeH="0" baseline="0" noProof="0">
                <a:ln>
                  <a:noFill/>
                </a:ln>
                <a:solidFill>
                  <a:srgbClr val="D5B9FF"/>
                </a:solidFill>
                <a:effectLst/>
                <a:uLnTx/>
                <a:uFillTx/>
                <a:latin typeface="Poppins Light"/>
                <a:ea typeface="+mn-ea"/>
                <a:cs typeface="+mn-cs"/>
              </a:rPr>
              <a:t>         Friday, March 22, 2024</a:t>
            </a: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a:p>
            <a:endParaRPr lang="es-CO"/>
          </a:p>
        </p:txBody>
      </p:sp>
      <p:sp>
        <p:nvSpPr>
          <p:cNvPr id="5" name="Marcador de fecha 3">
            <a:extLst>
              <a:ext uri="{FF2B5EF4-FFF2-40B4-BE49-F238E27FC236}">
                <a16:creationId xmlns:a16="http://schemas.microsoft.com/office/drawing/2014/main" id="{C993F362-141F-3DC5-FE70-A1AFAFCE4570}"/>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O" b="0" i="0">
              <a:solidFill>
                <a:schemeClr val="bg1"/>
              </a:solidFill>
              <a:latin typeface="Poppins Medium" pitchFamily="2" charset="77"/>
              <a:cs typeface="Poppins Medium" pitchFamily="2" charset="77"/>
            </a:endParaRPr>
          </a:p>
        </p:txBody>
      </p:sp>
      <p:sp>
        <p:nvSpPr>
          <p:cNvPr id="7" name="Marcador de fecha 3">
            <a:extLst>
              <a:ext uri="{FF2B5EF4-FFF2-40B4-BE49-F238E27FC236}">
                <a16:creationId xmlns:a16="http://schemas.microsoft.com/office/drawing/2014/main" id="{223D8FD0-B430-9821-EA24-1C8798ABC8EF}"/>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O" b="0">
              <a:solidFill>
                <a:srgbClr val="D5B9FF"/>
              </a:solidFill>
            </a:endParaRPr>
          </a:p>
        </p:txBody>
      </p:sp>
      <p:sp>
        <p:nvSpPr>
          <p:cNvPr id="11" name="CuadroTexto 10">
            <a:extLst>
              <a:ext uri="{FF2B5EF4-FFF2-40B4-BE49-F238E27FC236}">
                <a16:creationId xmlns:a16="http://schemas.microsoft.com/office/drawing/2014/main" id="{3A4AE1AF-9021-BD97-5F8B-E70D65FFB320}"/>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a:solidFill>
                  <a:schemeClr val="bg1"/>
                </a:solidFill>
                <a:effectLst/>
                <a:latin typeface="+mj-lt"/>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l"/>
            <a:endParaRPr lang="es-CO">
              <a:solidFill>
                <a:schemeClr val="bg1"/>
              </a:solidFill>
            </a:endParaRPr>
          </a:p>
        </p:txBody>
      </p:sp>
      <p:pic>
        <p:nvPicPr>
          <p:cNvPr id="12" name="Imagen 11">
            <a:extLst>
              <a:ext uri="{FF2B5EF4-FFF2-40B4-BE49-F238E27FC236}">
                <a16:creationId xmlns:a16="http://schemas.microsoft.com/office/drawing/2014/main" id="{2FB5D751-FCF5-302E-5629-824D4CB4906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25886636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16F18669-364E-595B-29CD-4AECFC7DD2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96" y="9579"/>
            <a:ext cx="12271513" cy="6867939"/>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userDrawn="1"/>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94980" y="-9579"/>
            <a:ext cx="12316797" cy="6867939"/>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userDrawn="1"/>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59700" y="-9579"/>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9743" y="1931623"/>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userDrawn="1"/>
        </p:nvSpPr>
        <p:spPr>
          <a:xfrm>
            <a:off x="625621" y="8815"/>
            <a:ext cx="2877797" cy="1101572"/>
          </a:xfrm>
          <a:prstGeom prst="rect">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70440" y="121543"/>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userDrawn="1"/>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24" name="Paralelogramo 23">
            <a:extLst>
              <a:ext uri="{FF2B5EF4-FFF2-40B4-BE49-F238E27FC236}">
                <a16:creationId xmlns:a16="http://schemas.microsoft.com/office/drawing/2014/main" id="{6672ABD3-3BFF-4131-8BBA-8B2C758985CB}"/>
              </a:ext>
            </a:extLst>
          </p:cNvPr>
          <p:cNvSpPr/>
          <p:nvPr userDrawn="1"/>
        </p:nvSpPr>
        <p:spPr>
          <a:xfrm>
            <a:off x="7194014" y="4589418"/>
            <a:ext cx="5582895" cy="1576776"/>
          </a:xfrm>
          <a:prstGeom prst="parallelogram">
            <a:avLst>
              <a:gd name="adj" fmla="val 32214"/>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Marcador de fecha 3">
            <a:extLst>
              <a:ext uri="{FF2B5EF4-FFF2-40B4-BE49-F238E27FC236}">
                <a16:creationId xmlns:a16="http://schemas.microsoft.com/office/drawing/2014/main" id="{65B01963-AA45-E2A3-1922-2B59A8DA7127}"/>
              </a:ext>
            </a:extLst>
          </p:cNvPr>
          <p:cNvSpPr>
            <a:spLocks noGrp="1"/>
          </p:cNvSpPr>
          <p:nvPr>
            <p:ph type="dt" sz="half" idx="10"/>
          </p:nvPr>
        </p:nvSpPr>
        <p:spPr>
          <a:xfrm>
            <a:off x="556807" y="1390989"/>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s-CO"/>
              <a:t>TÍTULO</a:t>
            </a:r>
          </a:p>
          <a:p>
            <a:r>
              <a:rPr lang="es-CO"/>
              <a:t>  PROYEC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0" i="0" u="none" strike="noStrike" kern="1200" cap="none" spc="0" normalizeH="0" baseline="0" noProof="0">
                <a:ln>
                  <a:noFill/>
                </a:ln>
                <a:solidFill>
                  <a:srgbClr val="FFFFFF"/>
                </a:solidFill>
                <a:effectLst/>
                <a:uLnTx/>
                <a:uFillTx/>
                <a:latin typeface="Poppins Light"/>
                <a:ea typeface="+mn-ea"/>
                <a:cs typeface="+mn-cs"/>
              </a:rPr>
              <a:t>         Descripció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0" i="0" u="none" strike="noStrike" kern="1200" cap="none" spc="0" normalizeH="0" baseline="0" noProof="0">
                <a:ln>
                  <a:noFill/>
                </a:ln>
                <a:solidFill>
                  <a:srgbClr val="D5B9FF"/>
                </a:solidFill>
                <a:effectLst/>
                <a:uLnTx/>
                <a:uFillTx/>
                <a:latin typeface="Poppins Light"/>
                <a:ea typeface="+mn-ea"/>
                <a:cs typeface="+mn-cs"/>
              </a:rPr>
              <a:t>         Friday, March 22, 2024</a:t>
            </a: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4" name="CuadroTexto 3">
            <a:extLst>
              <a:ext uri="{FF2B5EF4-FFF2-40B4-BE49-F238E27FC236}">
                <a16:creationId xmlns:a16="http://schemas.microsoft.com/office/drawing/2014/main" id="{3323BBDD-955B-98E7-81D0-7AA87EC5A9EF}"/>
              </a:ext>
            </a:extLst>
          </p:cNvPr>
          <p:cNvSpPr txBox="1"/>
          <p:nvPr userDrawn="1"/>
        </p:nvSpPr>
        <p:spPr>
          <a:xfrm>
            <a:off x="6095979" y="4737541"/>
            <a:ext cx="5780049" cy="2323713"/>
          </a:xfrm>
          <a:prstGeom prst="rect">
            <a:avLst/>
          </a:prstGeom>
          <a:noFill/>
        </p:spPr>
        <p:txBody>
          <a:bodyPr wrap="square" rtlCol="0">
            <a:spAutoFit/>
          </a:bodyPr>
          <a:lstStyle/>
          <a:p>
            <a:pPr algn="r"/>
            <a:r>
              <a:rPr lang="es-CO" sz="2800" b="1" i="0" u="none">
                <a:solidFill>
                  <a:schemeClr val="bg1"/>
                </a:solidFill>
                <a:effectLst/>
                <a:latin typeface="+mj-lt"/>
                <a:cs typeface="Poppins Medium" pitchFamily="2" charset="77"/>
                <a:hlinkClick r:id="rId10">
                  <a:extLst>
                    <a:ext uri="{A12FA001-AC4F-418D-AE19-62706E023703}">
                      <ahyp:hlinkClr xmlns:ahyp="http://schemas.microsoft.com/office/drawing/2018/hyperlinkcolor" val="tx"/>
                    </a:ext>
                  </a:extLst>
                </a:hlinkClick>
              </a:rPr>
              <a:t>www.iotaimpact.com</a:t>
            </a:r>
            <a:endParaRPr lang="es-CO" sz="2800" b="1" i="0" u="none">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a:solidFill>
                  <a:schemeClr val="bg1"/>
                </a:solidFill>
                <a:effectLst/>
                <a:latin typeface="+mj-lt"/>
              </a:rPr>
              <a:t>andres@iotaimpact.com</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r"/>
            <a:endParaRPr lang="es-CO">
              <a:solidFill>
                <a:schemeClr val="bg1"/>
              </a:solidFill>
            </a:endParaRPr>
          </a:p>
        </p:txBody>
      </p:sp>
      <p:pic>
        <p:nvPicPr>
          <p:cNvPr id="5" name="Imagen 4">
            <a:extLst>
              <a:ext uri="{FF2B5EF4-FFF2-40B4-BE49-F238E27FC236}">
                <a16:creationId xmlns:a16="http://schemas.microsoft.com/office/drawing/2014/main" id="{13CC9FDB-6E60-3859-54A8-AB0A935D7E01}"/>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890695" y="5511903"/>
            <a:ext cx="668049" cy="668049"/>
          </a:xfrm>
          <a:prstGeom prst="rect">
            <a:avLst/>
          </a:prstGeom>
        </p:spPr>
      </p:pic>
    </p:spTree>
    <p:extLst>
      <p:ext uri="{BB962C8B-B14F-4D97-AF65-F5344CB8AC3E}">
        <p14:creationId xmlns:p14="http://schemas.microsoft.com/office/powerpoint/2010/main" val="233030603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8FFEBE50-1ECD-D234-44EB-880368AFF0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56"/>
          <a:stretch/>
        </p:blipFill>
        <p:spPr>
          <a:xfrm>
            <a:off x="-40" y="-13720"/>
            <a:ext cx="12192039" cy="6871720"/>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userDrawn="1"/>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0" y="20709"/>
            <a:ext cx="12316797" cy="6867939"/>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userDrawn="1"/>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29883" y="0"/>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9743" y="1922044"/>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userDrawn="1"/>
        </p:nvSpPr>
        <p:spPr>
          <a:xfrm>
            <a:off x="625621" y="-764"/>
            <a:ext cx="2877797" cy="1101572"/>
          </a:xfrm>
          <a:prstGeom prst="rect">
            <a:avLst/>
          </a:prstGeom>
          <a:solidFill>
            <a:schemeClr val="accent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70440" y="111964"/>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userDrawn="1"/>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24" name="Paralelogramo 23">
            <a:extLst>
              <a:ext uri="{FF2B5EF4-FFF2-40B4-BE49-F238E27FC236}">
                <a16:creationId xmlns:a16="http://schemas.microsoft.com/office/drawing/2014/main" id="{6672ABD3-3BFF-4131-8BBA-8B2C758985CB}"/>
              </a:ext>
            </a:extLst>
          </p:cNvPr>
          <p:cNvSpPr/>
          <p:nvPr userDrawn="1"/>
        </p:nvSpPr>
        <p:spPr>
          <a:xfrm>
            <a:off x="7246268" y="4691088"/>
            <a:ext cx="5582895" cy="1601129"/>
          </a:xfrm>
          <a:prstGeom prst="parallelogram">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Marcador de fecha 3">
            <a:extLst>
              <a:ext uri="{FF2B5EF4-FFF2-40B4-BE49-F238E27FC236}">
                <a16:creationId xmlns:a16="http://schemas.microsoft.com/office/drawing/2014/main" id="{3C50A9DB-4C68-F9B8-AB00-0F903AE1951E}"/>
              </a:ext>
            </a:extLst>
          </p:cNvPr>
          <p:cNvSpPr>
            <a:spLocks noGrp="1"/>
          </p:cNvSpPr>
          <p:nvPr>
            <p:ph type="dt" sz="half" idx="10"/>
          </p:nvPr>
        </p:nvSpPr>
        <p:spPr>
          <a:xfrm>
            <a:off x="556807" y="1390989"/>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s-CO"/>
              <a:t>TÍTULO</a:t>
            </a:r>
          </a:p>
          <a:p>
            <a:r>
              <a:rPr lang="es-CO"/>
              <a:t>  PROYECTO</a:t>
            </a:r>
          </a:p>
          <a:p>
            <a:pPr>
              <a:buFontTx/>
              <a:buNone/>
              <a:defRPr/>
            </a:pPr>
            <a:r>
              <a:rPr lang="es-CO" sz="1800">
                <a:solidFill>
                  <a:srgbClr val="FFFFFF"/>
                </a:solidFill>
                <a:latin typeface="Poppins Light"/>
                <a:cs typeface="+mn-cs"/>
              </a:rPr>
              <a:t>         Descripción</a:t>
            </a:r>
          </a:p>
          <a:p>
            <a:pPr>
              <a:defRPr/>
            </a:pPr>
            <a:r>
              <a:rPr lang="es-CO" sz="1800">
                <a:solidFill>
                  <a:srgbClr val="D5B9FF"/>
                </a:solidFill>
                <a:latin typeface="Poppins Light"/>
                <a:cs typeface="+mn-cs"/>
              </a:rPr>
              <a:t>         Friday, March 22, 2024</a:t>
            </a:r>
            <a:endParaRPr lang="es-CO" sz="1800">
              <a:solidFill>
                <a:srgbClr val="FFFFFF"/>
              </a:solidFill>
              <a:latin typeface="Poppins Light"/>
              <a:cs typeface="+mn-cs"/>
            </a:endParaRPr>
          </a:p>
          <a:p>
            <a:pPr>
              <a:buFontTx/>
              <a:buNone/>
              <a:defRPr/>
            </a:pPr>
            <a:endParaRPr lang="es-CO" sz="1800">
              <a:solidFill>
                <a:srgbClr val="FFFFFF"/>
              </a:solidFill>
              <a:latin typeface="Poppins Light"/>
              <a:cs typeface="+mn-cs"/>
            </a:endParaRPr>
          </a:p>
          <a:p>
            <a:endParaRPr lang="es-CO"/>
          </a:p>
        </p:txBody>
      </p:sp>
      <p:sp>
        <p:nvSpPr>
          <p:cNvPr id="6" name="CuadroTexto 5">
            <a:extLst>
              <a:ext uri="{FF2B5EF4-FFF2-40B4-BE49-F238E27FC236}">
                <a16:creationId xmlns:a16="http://schemas.microsoft.com/office/drawing/2014/main" id="{A2422B57-48FA-42A6-0090-6DFD424DDBE8}"/>
              </a:ext>
            </a:extLst>
          </p:cNvPr>
          <p:cNvSpPr txBox="1"/>
          <p:nvPr userDrawn="1"/>
        </p:nvSpPr>
        <p:spPr>
          <a:xfrm>
            <a:off x="6095979" y="4806806"/>
            <a:ext cx="5780049" cy="2046714"/>
          </a:xfrm>
          <a:prstGeom prst="rect">
            <a:avLst/>
          </a:prstGeom>
          <a:noFill/>
        </p:spPr>
        <p:txBody>
          <a:bodyPr wrap="square" rtlCol="0">
            <a:spAutoFit/>
          </a:bodyPr>
          <a:lstStyle/>
          <a:p>
            <a:pPr algn="r"/>
            <a:r>
              <a:rPr lang="es-CO" sz="2800" b="1" i="0" u="none">
                <a:solidFill>
                  <a:schemeClr val="bg1"/>
                </a:solidFill>
                <a:effectLst/>
                <a:latin typeface="+mj-lt"/>
                <a:cs typeface="Poppins Medium" pitchFamily="2" charset="77"/>
                <a:hlinkClick r:id="rId10">
                  <a:extLst>
                    <a:ext uri="{A12FA001-AC4F-418D-AE19-62706E023703}">
                      <ahyp:hlinkClr xmlns:ahyp="http://schemas.microsoft.com/office/drawing/2018/hyperlinkcolor" val="tx"/>
                    </a:ext>
                  </a:extLst>
                </a:hlinkClick>
              </a:rPr>
              <a:t>www.iotaimpact.com</a:t>
            </a:r>
            <a:endParaRPr lang="es-CO" sz="2800" b="1" i="0" u="none">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a:solidFill>
                  <a:schemeClr val="bg1"/>
                </a:solidFill>
                <a:effectLst/>
                <a:latin typeface="+mj-lt"/>
              </a:rPr>
              <a:t>andres@iotaimpact.com</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r"/>
            <a:endParaRPr lang="es-CO">
              <a:solidFill>
                <a:schemeClr val="bg1"/>
              </a:solidFill>
            </a:endParaRPr>
          </a:p>
        </p:txBody>
      </p:sp>
      <p:pic>
        <p:nvPicPr>
          <p:cNvPr id="7" name="Imagen 6">
            <a:extLst>
              <a:ext uri="{FF2B5EF4-FFF2-40B4-BE49-F238E27FC236}">
                <a16:creationId xmlns:a16="http://schemas.microsoft.com/office/drawing/2014/main" id="{01C1A841-44D5-D1E6-4A02-44A46E65C66D}"/>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955233" y="5624169"/>
            <a:ext cx="668049" cy="668049"/>
          </a:xfrm>
          <a:prstGeom prst="rect">
            <a:avLst/>
          </a:prstGeom>
        </p:spPr>
      </p:pic>
    </p:spTree>
    <p:extLst>
      <p:ext uri="{BB962C8B-B14F-4D97-AF65-F5344CB8AC3E}">
        <p14:creationId xmlns:p14="http://schemas.microsoft.com/office/powerpoint/2010/main" val="244463343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Diseño personalizado">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95E20F37-B011-169E-28A9-8135B8D365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921" b="13625"/>
          <a:stretch/>
        </p:blipFill>
        <p:spPr>
          <a:xfrm>
            <a:off x="-7043" y="0"/>
            <a:ext cx="12199043" cy="6867176"/>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userDrawn="1"/>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65921" y="-9939"/>
            <a:ext cx="12316797" cy="6867939"/>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userDrawn="1"/>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29883" y="0"/>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9743" y="1922044"/>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userDrawn="1"/>
        </p:nvSpPr>
        <p:spPr>
          <a:xfrm>
            <a:off x="625621" y="-764"/>
            <a:ext cx="2877797" cy="1101572"/>
          </a:xfrm>
          <a:prstGeom prst="rect">
            <a:avLst/>
          </a:prstGeom>
          <a:solidFill>
            <a:schemeClr val="accent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70440" y="111964"/>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userDrawn="1"/>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3" name="Marcador de fecha 3">
            <a:extLst>
              <a:ext uri="{FF2B5EF4-FFF2-40B4-BE49-F238E27FC236}">
                <a16:creationId xmlns:a16="http://schemas.microsoft.com/office/drawing/2014/main" id="{91640266-6EB1-8975-9372-E9CFD8B3D38D}"/>
              </a:ext>
            </a:extLst>
          </p:cNvPr>
          <p:cNvSpPr>
            <a:spLocks noGrp="1"/>
          </p:cNvSpPr>
          <p:nvPr>
            <p:ph type="dt" sz="half" idx="10"/>
          </p:nvPr>
        </p:nvSpPr>
        <p:spPr>
          <a:xfrm>
            <a:off x="635907" y="1390741"/>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s-CO"/>
              <a:t>TÍTULO</a:t>
            </a:r>
          </a:p>
          <a:p>
            <a:r>
              <a:rPr lang="es-CO"/>
              <a:t>  PROYECTO</a:t>
            </a:r>
          </a:p>
          <a:p>
            <a:pPr>
              <a:buFontTx/>
              <a:buNone/>
              <a:defRPr/>
            </a:pPr>
            <a:r>
              <a:rPr lang="es-CO" sz="1800">
                <a:solidFill>
                  <a:srgbClr val="FFFFFF"/>
                </a:solidFill>
                <a:latin typeface="Poppins Light"/>
                <a:cs typeface="+mn-cs"/>
              </a:rPr>
              <a:t>         Descripción</a:t>
            </a:r>
          </a:p>
          <a:p>
            <a:pPr>
              <a:defRPr/>
            </a:pPr>
            <a:r>
              <a:rPr lang="es-CO" sz="1800">
                <a:solidFill>
                  <a:srgbClr val="D5B9FF"/>
                </a:solidFill>
                <a:latin typeface="Poppins Light"/>
                <a:cs typeface="+mn-cs"/>
              </a:rPr>
              <a:t>         Friday, March 22, 2024</a:t>
            </a:r>
            <a:endParaRPr lang="es-CO" sz="1800">
              <a:solidFill>
                <a:srgbClr val="FFFFFF"/>
              </a:solidFill>
              <a:latin typeface="Poppins Light"/>
              <a:cs typeface="+mn-cs"/>
            </a:endParaRPr>
          </a:p>
          <a:p>
            <a:pPr>
              <a:buFontTx/>
              <a:buNone/>
              <a:defRPr/>
            </a:pPr>
            <a:endParaRPr lang="es-CO" sz="1800">
              <a:solidFill>
                <a:srgbClr val="FFFFFF"/>
              </a:solidFill>
              <a:latin typeface="Poppins Light"/>
              <a:cs typeface="+mn-cs"/>
            </a:endParaRPr>
          </a:p>
          <a:p>
            <a:endParaRPr lang="es-CO"/>
          </a:p>
        </p:txBody>
      </p:sp>
      <p:sp>
        <p:nvSpPr>
          <p:cNvPr id="2" name="Paralelogramo 1">
            <a:extLst>
              <a:ext uri="{FF2B5EF4-FFF2-40B4-BE49-F238E27FC236}">
                <a16:creationId xmlns:a16="http://schemas.microsoft.com/office/drawing/2014/main" id="{4340CEE7-F996-C905-DAD4-6B1C9DC9D67D}"/>
              </a:ext>
            </a:extLst>
          </p:cNvPr>
          <p:cNvSpPr/>
          <p:nvPr userDrawn="1"/>
        </p:nvSpPr>
        <p:spPr>
          <a:xfrm>
            <a:off x="7246268" y="4691088"/>
            <a:ext cx="5582895" cy="1601129"/>
          </a:xfrm>
          <a:prstGeom prst="parallelogram">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CuadroTexto 3">
            <a:extLst>
              <a:ext uri="{FF2B5EF4-FFF2-40B4-BE49-F238E27FC236}">
                <a16:creationId xmlns:a16="http://schemas.microsoft.com/office/drawing/2014/main" id="{0AA78BED-BA75-13D6-107E-6B7252214291}"/>
              </a:ext>
            </a:extLst>
          </p:cNvPr>
          <p:cNvSpPr txBox="1"/>
          <p:nvPr userDrawn="1"/>
        </p:nvSpPr>
        <p:spPr>
          <a:xfrm>
            <a:off x="6095979" y="4806806"/>
            <a:ext cx="5780049" cy="2046714"/>
          </a:xfrm>
          <a:prstGeom prst="rect">
            <a:avLst/>
          </a:prstGeom>
          <a:noFill/>
        </p:spPr>
        <p:txBody>
          <a:bodyPr wrap="square" rtlCol="0">
            <a:spAutoFit/>
          </a:bodyPr>
          <a:lstStyle/>
          <a:p>
            <a:pPr algn="r"/>
            <a:r>
              <a:rPr lang="es-CO" sz="2800" b="1" i="0" u="none">
                <a:solidFill>
                  <a:schemeClr val="bg1"/>
                </a:solidFill>
                <a:effectLst/>
                <a:latin typeface="+mj-lt"/>
                <a:cs typeface="Poppins Medium" pitchFamily="2" charset="77"/>
                <a:hlinkClick r:id="rId10">
                  <a:extLst>
                    <a:ext uri="{A12FA001-AC4F-418D-AE19-62706E023703}">
                      <ahyp:hlinkClr xmlns:ahyp="http://schemas.microsoft.com/office/drawing/2018/hyperlinkcolor" val="tx"/>
                    </a:ext>
                  </a:extLst>
                </a:hlinkClick>
              </a:rPr>
              <a:t>www.iotaimpact.com</a:t>
            </a:r>
            <a:endParaRPr lang="es-CO" sz="2800" b="1" i="0" u="none">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a:solidFill>
                  <a:schemeClr val="bg1"/>
                </a:solidFill>
                <a:effectLst/>
                <a:latin typeface="+mj-lt"/>
              </a:rPr>
              <a:t>andres@iotaimpact.com</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r"/>
            <a:endParaRPr lang="es-CO">
              <a:solidFill>
                <a:schemeClr val="bg1"/>
              </a:solidFill>
            </a:endParaRPr>
          </a:p>
        </p:txBody>
      </p:sp>
      <p:pic>
        <p:nvPicPr>
          <p:cNvPr id="5" name="Imagen 4">
            <a:extLst>
              <a:ext uri="{FF2B5EF4-FFF2-40B4-BE49-F238E27FC236}">
                <a16:creationId xmlns:a16="http://schemas.microsoft.com/office/drawing/2014/main" id="{1683B1F4-DEB6-B0D8-BE08-A31DA1A8CE9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955233" y="5624169"/>
            <a:ext cx="668049" cy="668049"/>
          </a:xfrm>
          <a:prstGeom prst="rect">
            <a:avLst/>
          </a:prstGeom>
        </p:spPr>
      </p:pic>
    </p:spTree>
    <p:extLst>
      <p:ext uri="{BB962C8B-B14F-4D97-AF65-F5344CB8AC3E}">
        <p14:creationId xmlns:p14="http://schemas.microsoft.com/office/powerpoint/2010/main" val="15960745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2286FD21-DF25-CDB3-B643-6FCB816C056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42"/>
          <a:stretch/>
        </p:blipFill>
        <p:spPr>
          <a:xfrm>
            <a:off x="-45334" y="-62523"/>
            <a:ext cx="12237334" cy="7054994"/>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userDrawn="1"/>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99121" y="-63726"/>
            <a:ext cx="12316797" cy="7054994"/>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userDrawn="1"/>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29883" y="0"/>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9743" y="1922044"/>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userDrawn="1"/>
        </p:nvSpPr>
        <p:spPr>
          <a:xfrm>
            <a:off x="625621" y="-61723"/>
            <a:ext cx="2877797" cy="1101572"/>
          </a:xfrm>
          <a:prstGeom prst="rect">
            <a:avLst/>
          </a:prstGeom>
          <a:solidFill>
            <a:schemeClr val="accent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70440" y="111964"/>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userDrawn="1"/>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3" name="Marcador de fecha 3">
            <a:extLst>
              <a:ext uri="{FF2B5EF4-FFF2-40B4-BE49-F238E27FC236}">
                <a16:creationId xmlns:a16="http://schemas.microsoft.com/office/drawing/2014/main" id="{D6CF6E04-258C-D271-0BE2-40A8CE11DE94}"/>
              </a:ext>
            </a:extLst>
          </p:cNvPr>
          <p:cNvSpPr>
            <a:spLocks noGrp="1"/>
          </p:cNvSpPr>
          <p:nvPr>
            <p:ph type="dt" sz="half" idx="10"/>
          </p:nvPr>
        </p:nvSpPr>
        <p:spPr>
          <a:xfrm>
            <a:off x="635907" y="1390741"/>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s-CO"/>
              <a:t>TÍTULO</a:t>
            </a:r>
          </a:p>
          <a:p>
            <a:r>
              <a:rPr lang="es-CO"/>
              <a:t>  PROYECTO</a:t>
            </a:r>
          </a:p>
          <a:p>
            <a:pPr>
              <a:buFontTx/>
              <a:buNone/>
              <a:defRPr/>
            </a:pPr>
            <a:r>
              <a:rPr lang="es-CO" sz="1800">
                <a:solidFill>
                  <a:srgbClr val="FFFFFF"/>
                </a:solidFill>
                <a:latin typeface="Poppins Light"/>
                <a:cs typeface="+mn-cs"/>
              </a:rPr>
              <a:t>         Descripción</a:t>
            </a:r>
          </a:p>
          <a:p>
            <a:pPr>
              <a:defRPr/>
            </a:pPr>
            <a:r>
              <a:rPr lang="es-CO" sz="1800">
                <a:solidFill>
                  <a:srgbClr val="D5B9FF"/>
                </a:solidFill>
                <a:latin typeface="Poppins Light"/>
                <a:cs typeface="+mn-cs"/>
              </a:rPr>
              <a:t>         Friday, March 22, 2024</a:t>
            </a:r>
            <a:endParaRPr lang="es-CO" sz="1800">
              <a:solidFill>
                <a:srgbClr val="FFFFFF"/>
              </a:solidFill>
              <a:latin typeface="Poppins Light"/>
              <a:cs typeface="+mn-cs"/>
            </a:endParaRPr>
          </a:p>
          <a:p>
            <a:pPr>
              <a:buFontTx/>
              <a:buNone/>
              <a:defRPr/>
            </a:pPr>
            <a:endParaRPr lang="es-CO" sz="1800">
              <a:solidFill>
                <a:srgbClr val="FFFFFF"/>
              </a:solidFill>
              <a:latin typeface="Poppins Light"/>
              <a:cs typeface="+mn-cs"/>
            </a:endParaRPr>
          </a:p>
          <a:p>
            <a:endParaRPr lang="es-CO"/>
          </a:p>
        </p:txBody>
      </p:sp>
      <p:sp>
        <p:nvSpPr>
          <p:cNvPr id="2" name="Paralelogramo 1">
            <a:extLst>
              <a:ext uri="{FF2B5EF4-FFF2-40B4-BE49-F238E27FC236}">
                <a16:creationId xmlns:a16="http://schemas.microsoft.com/office/drawing/2014/main" id="{065502ED-FB98-CBE5-4021-F2A425805D42}"/>
              </a:ext>
            </a:extLst>
          </p:cNvPr>
          <p:cNvSpPr/>
          <p:nvPr userDrawn="1"/>
        </p:nvSpPr>
        <p:spPr>
          <a:xfrm>
            <a:off x="7246268" y="4691088"/>
            <a:ext cx="5582895" cy="1601129"/>
          </a:xfrm>
          <a:prstGeom prst="parallelogram">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55208810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8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9825"/>
            <a:ext cx="12192000" cy="6858000"/>
          </a:xfrm>
          <a:prstGeom prst="rect">
            <a:avLst/>
          </a:prstGeom>
        </p:spPr>
      </p:pic>
      <p:pic>
        <p:nvPicPr>
          <p:cNvPr id="2" name="Imagen 1">
            <a:extLst>
              <a:ext uri="{FF2B5EF4-FFF2-40B4-BE49-F238E27FC236}">
                <a16:creationId xmlns:a16="http://schemas.microsoft.com/office/drawing/2014/main" id="{66CBDFF5-B742-7C26-43F0-E23B8768C35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80380" y="439955"/>
            <a:ext cx="2788158" cy="912281"/>
          </a:xfrm>
          <a:prstGeom prst="rect">
            <a:avLst/>
          </a:prstGeom>
        </p:spPr>
      </p:pic>
      <p:sp>
        <p:nvSpPr>
          <p:cNvPr id="3" name="CuadroTexto 2">
            <a:extLst>
              <a:ext uri="{FF2B5EF4-FFF2-40B4-BE49-F238E27FC236}">
                <a16:creationId xmlns:a16="http://schemas.microsoft.com/office/drawing/2014/main" id="{4EC85468-6DD4-AB84-8BE4-2C23EFB7F5E6}"/>
              </a:ext>
            </a:extLst>
          </p:cNvPr>
          <p:cNvSpPr txBox="1"/>
          <p:nvPr userDrawn="1"/>
        </p:nvSpPr>
        <p:spPr>
          <a:xfrm>
            <a:off x="785191" y="1868557"/>
            <a:ext cx="5764696" cy="2677656"/>
          </a:xfrm>
          <a:prstGeom prst="rect">
            <a:avLst/>
          </a:prstGeom>
          <a:noFill/>
        </p:spPr>
        <p:txBody>
          <a:bodyPr wrap="square" rtlCol="0">
            <a:spAutoFit/>
          </a:bodyPr>
          <a:lstStyle/>
          <a:p>
            <a:pPr algn="l"/>
            <a:r>
              <a:rPr lang="es-CO" sz="1800" b="0" i="0">
                <a:solidFill>
                  <a:srgbClr val="000000"/>
                </a:solidFill>
                <a:effectLst/>
                <a:highlight>
                  <a:srgbClr val="EDEBE9"/>
                </a:highlight>
                <a:latin typeface="Poppins" pitchFamily="2" charset="77"/>
              </a:rPr>
              <a:t>​</a:t>
            </a:r>
            <a:r>
              <a:rPr lang="es-CO" sz="4400" b="1" i="0" err="1">
                <a:solidFill>
                  <a:schemeClr val="bg1"/>
                </a:solidFill>
                <a:latin typeface="Poppins" pitchFamily="2" charset="77"/>
                <a:cs typeface="Poppins" pitchFamily="2" charset="77"/>
              </a:rPr>
              <a:t>Let’s</a:t>
            </a:r>
            <a:r>
              <a:rPr lang="es-CO" sz="4400" b="1" i="0">
                <a:solidFill>
                  <a:schemeClr val="bg1"/>
                </a:solidFill>
                <a:latin typeface="Poppins" pitchFamily="2" charset="77"/>
                <a:cs typeface="Poppins" pitchFamily="2" charset="77"/>
              </a:rPr>
              <a:t> Future-</a:t>
            </a:r>
            <a:r>
              <a:rPr lang="es-CO" sz="4400" b="1" i="0" err="1">
                <a:solidFill>
                  <a:schemeClr val="bg1"/>
                </a:solidFill>
                <a:latin typeface="Poppins" pitchFamily="2" charset="77"/>
                <a:cs typeface="Poppins" pitchFamily="2" charset="77"/>
              </a:rPr>
              <a:t>Proof</a:t>
            </a:r>
            <a:endParaRPr lang="es-CO" sz="4400" b="1" i="0">
              <a:solidFill>
                <a:schemeClr val="bg1"/>
              </a:solidFill>
              <a:latin typeface="Poppins" pitchFamily="2" charset="77"/>
              <a:cs typeface="Poppins" pitchFamily="2" charset="77"/>
            </a:endParaRPr>
          </a:p>
          <a:p>
            <a:pPr algn="l"/>
            <a:r>
              <a:rPr lang="es-CO" sz="4400" b="1" i="0" err="1">
                <a:solidFill>
                  <a:schemeClr val="bg1"/>
                </a:solidFill>
                <a:latin typeface="Poppins" pitchFamily="2" charset="77"/>
                <a:cs typeface="Poppins" pitchFamily="2" charset="77"/>
              </a:rPr>
              <a:t>Your</a:t>
            </a:r>
            <a:r>
              <a:rPr lang="es-CO" sz="4400" b="1" i="0">
                <a:solidFill>
                  <a:schemeClr val="bg1"/>
                </a:solidFill>
                <a:latin typeface="Poppins" pitchFamily="2" charset="77"/>
                <a:cs typeface="Poppins" pitchFamily="2" charset="77"/>
              </a:rPr>
              <a:t> Business.​</a:t>
            </a:r>
            <a:br>
              <a:rPr lang="es-CO" sz="4400" b="1" i="0">
                <a:solidFill>
                  <a:schemeClr val="bg1"/>
                </a:solidFill>
                <a:latin typeface="Poppins" pitchFamily="2" charset="77"/>
                <a:cs typeface="Poppins" pitchFamily="2" charset="77"/>
              </a:rPr>
            </a:br>
            <a:r>
              <a:rPr lang="es-CO" sz="4400" b="1" i="0">
                <a:solidFill>
                  <a:schemeClr val="bg1"/>
                </a:solidFill>
                <a:latin typeface="Poppins" pitchFamily="2" charset="77"/>
                <a:cs typeface="Poppins" pitchFamily="2" charset="77"/>
              </a:rPr>
              <a:t>​</a:t>
            </a:r>
            <a:br>
              <a:rPr lang="es-CO" b="0" i="0">
                <a:solidFill>
                  <a:srgbClr val="FFFFFF"/>
                </a:solidFill>
                <a:effectLst/>
                <a:highlight>
                  <a:srgbClr val="212121"/>
                </a:highlight>
                <a:latin typeface="Söhne"/>
              </a:rPr>
            </a:br>
            <a:endParaRPr lang="es-CO" b="0" i="0">
              <a:solidFill>
                <a:srgbClr val="FFFFFF"/>
              </a:solidFill>
              <a:effectLst/>
              <a:highlight>
                <a:srgbClr val="212121"/>
              </a:highlight>
              <a:latin typeface="Söhne"/>
            </a:endParaRPr>
          </a:p>
          <a:p>
            <a:endParaRPr lang="es-CO"/>
          </a:p>
        </p:txBody>
      </p:sp>
      <p:sp>
        <p:nvSpPr>
          <p:cNvPr id="4" name="Marcador de fecha 3">
            <a:extLst>
              <a:ext uri="{FF2B5EF4-FFF2-40B4-BE49-F238E27FC236}">
                <a16:creationId xmlns:a16="http://schemas.microsoft.com/office/drawing/2014/main" id="{368839BF-B971-796D-8913-D6A1D19A7239}"/>
              </a:ext>
            </a:extLst>
          </p:cNvPr>
          <p:cNvSpPr txBox="1">
            <a:spLocks/>
          </p:cNvSpPr>
          <p:nvPr userDrawn="1"/>
        </p:nvSpPr>
        <p:spPr>
          <a:xfrm>
            <a:off x="785191" y="3429000"/>
            <a:ext cx="6378685"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s-CO" sz="1800" b="0" i="0" u="none" strike="noStrike">
                <a:solidFill>
                  <a:srgbClr val="FFFFFF"/>
                </a:solidFill>
                <a:effectLst/>
                <a:latin typeface="Poppins" pitchFamily="2" charset="77"/>
              </a:rPr>
              <a:t>CUTTING-EDGE RESEARCH</a:t>
            </a:r>
            <a:r>
              <a:rPr lang="es-CO" sz="1800" b="0" i="0">
                <a:solidFill>
                  <a:srgbClr val="000000"/>
                </a:solidFill>
                <a:effectLst/>
                <a:latin typeface="Poppins" pitchFamily="2" charset="77"/>
              </a:rPr>
              <a:t>​</a:t>
            </a:r>
            <a:endParaRPr lang="es-CO" b="0" i="0">
              <a:solidFill>
                <a:srgbClr val="000000"/>
              </a:solidFill>
              <a:effectLst/>
              <a:latin typeface="Segoe UI" panose="020B0502040204020203" pitchFamily="34" charset="0"/>
            </a:endParaRPr>
          </a:p>
          <a:p>
            <a:pPr algn="l" rtl="0" fontAlgn="base"/>
            <a:r>
              <a:rPr lang="es-CO" sz="1800" b="0" i="0" u="none" strike="noStrike">
                <a:solidFill>
                  <a:srgbClr val="FFFFFF"/>
                </a:solidFill>
                <a:effectLst/>
                <a:latin typeface="Poppins" pitchFamily="2" charset="77"/>
              </a:rPr>
              <a:t>&amp; CONSULTING SOLUTIONS.</a:t>
            </a:r>
            <a:endParaRPr lang="es-CO" b="0" i="0">
              <a:solidFill>
                <a:srgbClr val="000000"/>
              </a:solidFill>
              <a:effectLst/>
              <a:latin typeface="Segoe UI" panose="020B0502040204020203" pitchFamily="34" charset="0"/>
            </a:endParaRPr>
          </a:p>
        </p:txBody>
      </p:sp>
      <p:sp>
        <p:nvSpPr>
          <p:cNvPr id="5" name="CuadroTexto 4">
            <a:extLst>
              <a:ext uri="{FF2B5EF4-FFF2-40B4-BE49-F238E27FC236}">
                <a16:creationId xmlns:a16="http://schemas.microsoft.com/office/drawing/2014/main" id="{AF67E6AD-30BB-1951-6E76-DB9EC75D5535}"/>
              </a:ext>
            </a:extLst>
          </p:cNvPr>
          <p:cNvSpPr txBox="1"/>
          <p:nvPr userDrawn="1"/>
        </p:nvSpPr>
        <p:spPr>
          <a:xfrm>
            <a:off x="785191" y="4914571"/>
            <a:ext cx="5780049" cy="1923604"/>
          </a:xfrm>
          <a:prstGeom prst="rect">
            <a:avLst/>
          </a:prstGeom>
          <a:noFill/>
        </p:spPr>
        <p:txBody>
          <a:bodyPr wrap="square" rtlCol="0">
            <a:spAutoFit/>
          </a:bodyPr>
          <a:lstStyle/>
          <a:p>
            <a:pPr algn="l"/>
            <a:r>
              <a:rPr lang="es-CO" sz="2800" b="1" i="0" u="none">
                <a:solidFill>
                  <a:schemeClr val="bg1"/>
                </a:solidFill>
                <a:effectLst/>
                <a:latin typeface="Poppins Medium" pitchFamily="2" charset="77"/>
                <a:cs typeface="Poppins Medium" pitchFamily="2" charset="77"/>
                <a:hlinkClick r:id="rId5">
                  <a:extLst>
                    <a:ext uri="{A12FA001-AC4F-418D-AE19-62706E023703}">
                      <ahyp:hlinkClr xmlns:ahyp="http://schemas.microsoft.com/office/drawing/2018/hyperlinkcolor" val="tx"/>
                    </a:ext>
                  </a:extLst>
                </a:hlinkClick>
              </a:rPr>
              <a:t>www.iotaimpact.com</a:t>
            </a:r>
            <a:endParaRPr lang="es-CO" sz="2800" b="1" i="0" u="none">
              <a:solidFill>
                <a:schemeClr val="bg1"/>
              </a:solidFill>
              <a:effectLst/>
              <a:latin typeface="Poppins Medium" pitchFamily="2" charset="77"/>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1">
                <a:solidFill>
                  <a:schemeClr val="bg1"/>
                </a:solidFill>
                <a:effectLst/>
                <a:latin typeface="Helvetica" pitchFamily="2" charset="0"/>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Helvetica" pitchFamily="2" charset="0"/>
              </a:rPr>
              <a:t>Confidential</a:t>
            </a:r>
            <a:r>
              <a:rPr lang="es-CO" sz="900" i="1">
                <a:solidFill>
                  <a:schemeClr val="bg1"/>
                </a:solidFill>
                <a:effectLst/>
                <a:latin typeface="Helvetica" pitchFamily="2" charset="0"/>
              </a:rPr>
              <a:t> and </a:t>
            </a:r>
            <a:r>
              <a:rPr lang="es-CO" sz="900" i="1" err="1">
                <a:solidFill>
                  <a:schemeClr val="bg1"/>
                </a:solidFill>
                <a:effectLst/>
                <a:latin typeface="Helvetica" pitchFamily="2" charset="0"/>
              </a:rPr>
              <a:t>proprietary</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Not</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for</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distribution</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without</a:t>
            </a:r>
            <a:r>
              <a:rPr lang="es-CO" sz="900" i="1">
                <a:solidFill>
                  <a:schemeClr val="bg1"/>
                </a:solidFill>
                <a:effectLst/>
                <a:latin typeface="Helvetica" pitchFamily="2" charset="0"/>
              </a:rPr>
              <a:t> IOTA </a:t>
            </a:r>
            <a:r>
              <a:rPr lang="es-CO" sz="900" i="1" err="1">
                <a:solidFill>
                  <a:schemeClr val="bg1"/>
                </a:solidFill>
                <a:effectLst/>
                <a:latin typeface="Helvetica" pitchFamily="2" charset="0"/>
              </a:rPr>
              <a:t>Impact's</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permission</a:t>
            </a:r>
            <a:r>
              <a:rPr lang="es-CO" sz="900" i="1">
                <a:solidFill>
                  <a:schemeClr val="bg1"/>
                </a:solidFill>
                <a:effectLst/>
                <a:latin typeface="Helvetica" pitchFamily="2" charset="0"/>
              </a:rPr>
              <a:t>.</a:t>
            </a:r>
            <a:endParaRPr lang="es-CO" sz="900">
              <a:solidFill>
                <a:schemeClr val="bg1"/>
              </a:solidFill>
              <a:effectLst/>
              <a:latin typeface="Helvetica" pitchFamily="2" charset="0"/>
            </a:endParaRPr>
          </a:p>
          <a:p>
            <a:pPr algn="l"/>
            <a:endParaRPr lang="es-CO">
              <a:solidFill>
                <a:schemeClr val="bg1"/>
              </a:solidFill>
            </a:endParaRPr>
          </a:p>
        </p:txBody>
      </p:sp>
      <p:pic>
        <p:nvPicPr>
          <p:cNvPr id="7" name="Imagen 6">
            <a:extLst>
              <a:ext uri="{FF2B5EF4-FFF2-40B4-BE49-F238E27FC236}">
                <a16:creationId xmlns:a16="http://schemas.microsoft.com/office/drawing/2014/main" id="{8FA9289E-F056-6919-664D-D591E0A9E5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27392" y="5592954"/>
            <a:ext cx="668049" cy="668049"/>
          </a:xfrm>
          <a:prstGeom prst="rect">
            <a:avLst/>
          </a:prstGeom>
        </p:spPr>
      </p:pic>
    </p:spTree>
    <p:extLst>
      <p:ext uri="{BB962C8B-B14F-4D97-AF65-F5344CB8AC3E}">
        <p14:creationId xmlns:p14="http://schemas.microsoft.com/office/powerpoint/2010/main" val="7292775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A80612AF-EEE3-4F43-89C6-693985F10456}" type="datetime2">
              <a:rPr lang="es-CO" smtClean="0"/>
              <a:t>miércoles, 10 de julio de 2024</a:t>
            </a:fld>
            <a:endParaRPr lang="es-CO"/>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a:p>
        </p:txBody>
      </p:sp>
      <p:sp>
        <p:nvSpPr>
          <p:cNvPr id="13" name="CuadroTexto 12">
            <a:extLst>
              <a:ext uri="{FF2B5EF4-FFF2-40B4-BE49-F238E27FC236}">
                <a16:creationId xmlns:a16="http://schemas.microsoft.com/office/drawing/2014/main" id="{09E077C5-EFCB-2F20-834B-399140A4B15D}"/>
              </a:ext>
            </a:extLst>
          </p:cNvPr>
          <p:cNvSpPr txBox="1"/>
          <p:nvPr userDrawn="1"/>
        </p:nvSpPr>
        <p:spPr>
          <a:xfrm>
            <a:off x="152421" y="6358830"/>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pic>
        <p:nvPicPr>
          <p:cNvPr id="15" name="Imagen 14" descr="Icono&#10;&#10;Descripción generada automáticamente con confianza media">
            <a:extLst>
              <a:ext uri="{FF2B5EF4-FFF2-40B4-BE49-F238E27FC236}">
                <a16:creationId xmlns:a16="http://schemas.microsoft.com/office/drawing/2014/main" id="{9502E73A-780D-EEEA-A933-92ACF49567E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rot="16200000">
            <a:off x="102885" y="5891327"/>
            <a:ext cx="575295" cy="134562"/>
          </a:xfrm>
          <a:prstGeom prst="rect">
            <a:avLst/>
          </a:prstGeom>
        </p:spPr>
      </p:pic>
      <p:sp>
        <p:nvSpPr>
          <p:cNvPr id="2" name="Picture Placeholder 3">
            <a:extLst>
              <a:ext uri="{FF2B5EF4-FFF2-40B4-BE49-F238E27FC236}">
                <a16:creationId xmlns:a16="http://schemas.microsoft.com/office/drawing/2014/main" id="{A55F2657-94D4-1A94-8F39-5699AC6AC56D}"/>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err="1"/>
              <a:t>Insert</a:t>
            </a:r>
            <a:r>
              <a:rPr lang="es-CO"/>
              <a:t> Logo </a:t>
            </a:r>
            <a:r>
              <a:rPr lang="es-CO" err="1"/>
              <a:t>here</a:t>
            </a:r>
            <a:endParaRPr lang="es-CO"/>
          </a:p>
        </p:txBody>
      </p:sp>
    </p:spTree>
    <p:extLst>
      <p:ext uri="{BB962C8B-B14F-4D97-AF65-F5344CB8AC3E}">
        <p14:creationId xmlns:p14="http://schemas.microsoft.com/office/powerpoint/2010/main" val="324036627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E798F8F2-79A2-F52B-D6FC-7550EAF87BC4}"/>
              </a:ext>
            </a:extLst>
          </p:cNvPr>
          <p:cNvSpPr/>
          <p:nvPr userDrawn="1"/>
        </p:nvSpPr>
        <p:spPr>
          <a:xfrm>
            <a:off x="0" y="-1"/>
            <a:ext cx="12192000" cy="6858001"/>
          </a:xfrm>
          <a:prstGeom prst="rect">
            <a:avLst/>
          </a:prstGeom>
          <a:solidFill>
            <a:srgbClr val="6200EE">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1516EB89-A58A-4715-B73A-3172BF45D2FD}" type="datetime2">
              <a:rPr lang="es-CO" smtClean="0"/>
              <a:t>miércoles, 10 de julio de 2024</a:t>
            </a:fld>
            <a:endParaRPr lang="es-CO"/>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a:p>
        </p:txBody>
      </p:sp>
      <p:sp>
        <p:nvSpPr>
          <p:cNvPr id="13" name="CuadroTexto 12">
            <a:extLst>
              <a:ext uri="{FF2B5EF4-FFF2-40B4-BE49-F238E27FC236}">
                <a16:creationId xmlns:a16="http://schemas.microsoft.com/office/drawing/2014/main" id="{09E077C5-EFCB-2F20-834B-399140A4B15D}"/>
              </a:ext>
            </a:extLst>
          </p:cNvPr>
          <p:cNvSpPr txBox="1"/>
          <p:nvPr userDrawn="1"/>
        </p:nvSpPr>
        <p:spPr>
          <a:xfrm>
            <a:off x="152421" y="6358830"/>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pic>
        <p:nvPicPr>
          <p:cNvPr id="15" name="Imagen 14" descr="Icono&#10;&#10;Descripción generada automáticamente con confianza media">
            <a:extLst>
              <a:ext uri="{FF2B5EF4-FFF2-40B4-BE49-F238E27FC236}">
                <a16:creationId xmlns:a16="http://schemas.microsoft.com/office/drawing/2014/main" id="{9502E73A-780D-EEEA-A933-92ACF49567E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rot="16200000">
            <a:off x="102885" y="5891327"/>
            <a:ext cx="575295" cy="134562"/>
          </a:xfrm>
          <a:prstGeom prst="rect">
            <a:avLst/>
          </a:prstGeom>
        </p:spPr>
      </p:pic>
      <p:sp>
        <p:nvSpPr>
          <p:cNvPr id="3" name="Picture Placeholder 3">
            <a:extLst>
              <a:ext uri="{FF2B5EF4-FFF2-40B4-BE49-F238E27FC236}">
                <a16:creationId xmlns:a16="http://schemas.microsoft.com/office/drawing/2014/main" id="{D77CAB1A-FA32-B7AE-2446-F1F80B6D6521}"/>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err="1"/>
              <a:t>Insert</a:t>
            </a:r>
            <a:r>
              <a:rPr lang="es-CO"/>
              <a:t> Logo </a:t>
            </a:r>
            <a:r>
              <a:rPr lang="es-CO" err="1"/>
              <a:t>here</a:t>
            </a:r>
            <a:endParaRPr lang="es-CO"/>
          </a:p>
        </p:txBody>
      </p:sp>
    </p:spTree>
    <p:extLst>
      <p:ext uri="{BB962C8B-B14F-4D97-AF65-F5344CB8AC3E}">
        <p14:creationId xmlns:p14="http://schemas.microsoft.com/office/powerpoint/2010/main" val="187020304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1945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Tree>
    <p:extLst>
      <p:ext uri="{BB962C8B-B14F-4D97-AF65-F5344CB8AC3E}">
        <p14:creationId xmlns:p14="http://schemas.microsoft.com/office/powerpoint/2010/main" val="9090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dirty="0"/>
          </a:p>
        </p:txBody>
      </p:sp>
    </p:spTree>
    <p:extLst>
      <p:ext uri="{BB962C8B-B14F-4D97-AF65-F5344CB8AC3E}">
        <p14:creationId xmlns:p14="http://schemas.microsoft.com/office/powerpoint/2010/main" val="398723228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552828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218782498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dirty="0"/>
          </a:p>
        </p:txBody>
      </p:sp>
    </p:spTree>
    <p:extLst>
      <p:ext uri="{BB962C8B-B14F-4D97-AF65-F5344CB8AC3E}">
        <p14:creationId xmlns:p14="http://schemas.microsoft.com/office/powerpoint/2010/main" val="315393069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37311089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dirty="0"/>
          </a:p>
        </p:txBody>
      </p:sp>
    </p:spTree>
    <p:extLst>
      <p:ext uri="{BB962C8B-B14F-4D97-AF65-F5344CB8AC3E}">
        <p14:creationId xmlns:p14="http://schemas.microsoft.com/office/powerpoint/2010/main" val="245651210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dirty="0"/>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dirty="0"/>
          </a:p>
        </p:txBody>
      </p:sp>
    </p:spTree>
    <p:extLst>
      <p:ext uri="{BB962C8B-B14F-4D97-AF65-F5344CB8AC3E}">
        <p14:creationId xmlns:p14="http://schemas.microsoft.com/office/powerpoint/2010/main" val="103216143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dirty="0"/>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34498798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dirty="0"/>
          </a:p>
        </p:txBody>
      </p:sp>
    </p:spTree>
    <p:extLst>
      <p:ext uri="{BB962C8B-B14F-4D97-AF65-F5344CB8AC3E}">
        <p14:creationId xmlns:p14="http://schemas.microsoft.com/office/powerpoint/2010/main" val="98492687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dirty="0"/>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dirty="0">
                <a:solidFill>
                  <a:srgbClr val="304258"/>
                </a:solidFill>
                <a:latin typeface="Poppins" panose="00000500000000000000" pitchFamily="2" charset="0"/>
                <a:cs typeface="Poppins" panose="00000500000000000000" pitchFamily="2" charset="0"/>
              </a:rPr>
              <a:t>Data gathering</a:t>
            </a:r>
          </a:p>
          <a:p>
            <a:r>
              <a:rPr lang="en-US" dirty="0">
                <a:solidFill>
                  <a:srgbClr val="304258"/>
                </a:solidFill>
                <a:latin typeface="Poppins" panose="00000500000000000000" pitchFamily="2" charset="0"/>
                <a:cs typeface="Poppins" panose="00000500000000000000" pitchFamily="2" charset="0"/>
              </a:rPr>
              <a:t>Analysis structuring and execution</a:t>
            </a:r>
          </a:p>
          <a:p>
            <a:r>
              <a:rPr lang="en-US" dirty="0">
                <a:solidFill>
                  <a:srgbClr val="304258"/>
                </a:solidFill>
                <a:latin typeface="Poppins" panose="00000500000000000000" pitchFamily="2" charset="0"/>
                <a:cs typeface="Poppins" panose="00000500000000000000" pitchFamily="2" charset="0"/>
              </a:rPr>
              <a:t>Technical expertise</a:t>
            </a:r>
          </a:p>
          <a:p>
            <a:r>
              <a:rPr lang="en-US" dirty="0">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27235481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110668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dirty="0"/>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dirty="0">
                <a:solidFill>
                  <a:srgbClr val="304258"/>
                </a:solidFill>
                <a:latin typeface="Poppins" panose="00000500000000000000" pitchFamily="2" charset="0"/>
                <a:cs typeface="Poppins" panose="00000500000000000000" pitchFamily="2" charset="0"/>
              </a:rPr>
              <a:t>Data gathering</a:t>
            </a:r>
          </a:p>
          <a:p>
            <a:r>
              <a:rPr lang="en-US" dirty="0">
                <a:solidFill>
                  <a:srgbClr val="304258"/>
                </a:solidFill>
                <a:latin typeface="Poppins" panose="00000500000000000000" pitchFamily="2" charset="0"/>
                <a:cs typeface="Poppins" panose="00000500000000000000" pitchFamily="2" charset="0"/>
              </a:rPr>
              <a:t>Analysis structuring and execution</a:t>
            </a:r>
          </a:p>
          <a:p>
            <a:r>
              <a:rPr lang="en-US" dirty="0">
                <a:solidFill>
                  <a:srgbClr val="304258"/>
                </a:solidFill>
                <a:latin typeface="Poppins" panose="00000500000000000000" pitchFamily="2" charset="0"/>
                <a:cs typeface="Poppins" panose="00000500000000000000" pitchFamily="2" charset="0"/>
              </a:rPr>
              <a:t>Technical expertise</a:t>
            </a:r>
          </a:p>
          <a:p>
            <a:r>
              <a:rPr lang="en-US" dirty="0">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47731313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76535680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51495157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81497291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5850460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528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153301013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507026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dirty="0"/>
          </a:p>
        </p:txBody>
      </p:sp>
    </p:spTree>
    <p:extLst>
      <p:ext uri="{BB962C8B-B14F-4D97-AF65-F5344CB8AC3E}">
        <p14:creationId xmlns:p14="http://schemas.microsoft.com/office/powerpoint/2010/main" val="1441494690"/>
      </p:ext>
    </p:extLst>
  </p:cSld>
  <p:clrMapOvr>
    <a:masterClrMapping/>
  </p:clrMapOvr>
  <p:transition spd="slow" advTm="2000">
    <p:cover dir="d"/>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51315706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432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4384680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353811986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07803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48435160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89886910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dirty="0"/>
              <a:t>TÍTULO</a:t>
            </a:r>
          </a:p>
          <a:p>
            <a:r>
              <a:rPr lang="en-US" dirty="0"/>
              <a:t>  PROYECTO</a:t>
            </a:r>
          </a:p>
          <a:p>
            <a:pPr>
              <a:buFontTx/>
              <a:buNone/>
              <a:defRPr/>
            </a:pPr>
            <a:r>
              <a:rPr lang="en-US" sz="1800" dirty="0">
                <a:solidFill>
                  <a:srgbClr val="FFFFFF"/>
                </a:solidFill>
                <a:latin typeface="Poppins Light"/>
                <a:cs typeface="+mn-cs"/>
              </a:rPr>
              <a:t>         Descripción</a:t>
            </a:r>
          </a:p>
          <a:p>
            <a:pPr>
              <a:defRPr/>
            </a:pPr>
            <a:r>
              <a:rPr lang="en-US" sz="1800" dirty="0">
                <a:solidFill>
                  <a:srgbClr val="D5B9FF"/>
                </a:solidFill>
                <a:latin typeface="Poppins Light"/>
                <a:cs typeface="+mn-cs"/>
              </a:rPr>
              <a:t>         Friday, March 22, 2024</a:t>
            </a:r>
            <a:endParaRPr lang="en-US" sz="1800" dirty="0">
              <a:solidFill>
                <a:srgbClr val="FFFFFF"/>
              </a:solidFill>
              <a:latin typeface="Poppins Light"/>
              <a:cs typeface="+mn-cs"/>
            </a:endParaRPr>
          </a:p>
          <a:p>
            <a:pPr>
              <a:buFontTx/>
              <a:buNone/>
              <a:defRPr/>
            </a:pPr>
            <a:endParaRPr lang="en-US" sz="1800" dirty="0">
              <a:solidFill>
                <a:srgbClr val="FFFFFF"/>
              </a:solidFill>
              <a:latin typeface="Poppins Light"/>
              <a:cs typeface="+mn-cs"/>
            </a:endParaRPr>
          </a:p>
          <a:p>
            <a:endParaRPr lang="en-US" dirty="0"/>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dirty="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dirty="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dirty="0">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dirty="0">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l"/>
            <a:endParaRPr lang="es-CO" dirty="0">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396183530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10/07/2024</a:t>
            </a:fld>
            <a:endParaRPr lang="es-CO" dirty="0"/>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dirty="0"/>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dirty="0"/>
          </a:p>
        </p:txBody>
      </p:sp>
    </p:spTree>
    <p:extLst>
      <p:ext uri="{BB962C8B-B14F-4D97-AF65-F5344CB8AC3E}">
        <p14:creationId xmlns:p14="http://schemas.microsoft.com/office/powerpoint/2010/main" val="197467336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45753572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A80612AF-EEE3-4F43-89C6-693985F10456}" type="datetime2">
              <a:rPr lang="es-CO" smtClean="0"/>
              <a:t>miércoles, 10 de julio de 2024</a:t>
            </a:fld>
            <a:endParaRPr lang="es-CO" dirty="0"/>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dirty="0"/>
          </a:p>
        </p:txBody>
      </p:sp>
      <p:sp>
        <p:nvSpPr>
          <p:cNvPr id="2" name="Picture Placeholder 3">
            <a:extLst>
              <a:ext uri="{FF2B5EF4-FFF2-40B4-BE49-F238E27FC236}">
                <a16:creationId xmlns:a16="http://schemas.microsoft.com/office/drawing/2014/main" id="{A55F2657-94D4-1A94-8F39-5699AC6AC56D}"/>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dirty="0"/>
              <a:t>Insert Logo here</a:t>
            </a:r>
          </a:p>
        </p:txBody>
      </p:sp>
    </p:spTree>
    <p:extLst>
      <p:ext uri="{BB962C8B-B14F-4D97-AF65-F5344CB8AC3E}">
        <p14:creationId xmlns:p14="http://schemas.microsoft.com/office/powerpoint/2010/main" val="413259714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ABB12109-C502-3045-4D00-0FE9BC202BD7}"/>
              </a:ext>
            </a:extLst>
          </p:cNvPr>
          <p:cNvGrpSpPr/>
          <p:nvPr userDrawn="1"/>
        </p:nvGrpSpPr>
        <p:grpSpPr>
          <a:xfrm rot="10800000" flipH="1">
            <a:off x="0" y="0"/>
            <a:ext cx="12192000" cy="6858000"/>
            <a:chOff x="0" y="0"/>
            <a:chExt cx="12192000" cy="6858000"/>
          </a:xfrm>
        </p:grpSpPr>
        <p:pic>
          <p:nvPicPr>
            <p:cNvPr id="4" name="Imagen 3">
              <a:extLst>
                <a:ext uri="{FF2B5EF4-FFF2-40B4-BE49-F238E27FC236}">
                  <a16:creationId xmlns:a16="http://schemas.microsoft.com/office/drawing/2014/main" id="{CCABE3BB-B03C-6EC1-5179-C19D28D0CA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riángulo isósceles 5">
              <a:extLst>
                <a:ext uri="{FF2B5EF4-FFF2-40B4-BE49-F238E27FC236}">
                  <a16:creationId xmlns:a16="http://schemas.microsoft.com/office/drawing/2014/main" id="{1E7003A5-BEDC-CCE6-2754-1EF92DE23EF6}"/>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grpSp>
    </p:spTree>
    <p:extLst>
      <p:ext uri="{BB962C8B-B14F-4D97-AF65-F5344CB8AC3E}">
        <p14:creationId xmlns:p14="http://schemas.microsoft.com/office/powerpoint/2010/main" val="82310086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PhAnim="0" userDrawn="1">
  <p:cSld name="1_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4694" y="1393371"/>
            <a:ext cx="11732506"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311925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30323125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6FE9DA5D-7112-8C45-A224-D45A5C6A6A13}"/>
              </a:ext>
            </a:extLst>
          </p:cNvPr>
          <p:cNvSpPr>
            <a:spLocks noGrp="1"/>
          </p:cNvSpPr>
          <p:nvPr>
            <p:ph type="dt" sz="half" idx="10"/>
          </p:nvPr>
        </p:nvSpPr>
        <p:spPr/>
        <p:txBody>
          <a:bodyPr/>
          <a:lstStyle/>
          <a:p>
            <a:fld id="{A0D35840-8478-8046-B42D-151D5DBA1B2F}" type="datetimeFigureOut">
              <a:rPr lang="es-ES_tradnl" smtClean="0"/>
              <a:t>10/07/2024</a:t>
            </a:fld>
            <a:endParaRPr lang="es-ES_tradnl" dirty="0"/>
          </a:p>
        </p:txBody>
      </p:sp>
      <p:sp>
        <p:nvSpPr>
          <p:cNvPr id="3" name="Marcador de pie de página 2">
            <a:extLst>
              <a:ext uri="{FF2B5EF4-FFF2-40B4-BE49-F238E27FC236}">
                <a16:creationId xmlns:a16="http://schemas.microsoft.com/office/drawing/2014/main" id="{9A9CA7C2-A7EC-3D49-BAA3-BA671095A252}"/>
              </a:ext>
            </a:extLst>
          </p:cNvPr>
          <p:cNvSpPr>
            <a:spLocks noGrp="1"/>
          </p:cNvSpPr>
          <p:nvPr>
            <p:ph type="ftr" sz="quarter" idx="11"/>
          </p:nvPr>
        </p:nvSpPr>
        <p:spPr/>
        <p:txBody>
          <a:bodyPr/>
          <a:lstStyle/>
          <a:p>
            <a:endParaRPr lang="es-ES_tradnl" dirty="0"/>
          </a:p>
        </p:txBody>
      </p:sp>
      <p:sp>
        <p:nvSpPr>
          <p:cNvPr id="4" name="Marcador de número de diapositiva 3">
            <a:extLst>
              <a:ext uri="{FF2B5EF4-FFF2-40B4-BE49-F238E27FC236}">
                <a16:creationId xmlns:a16="http://schemas.microsoft.com/office/drawing/2014/main" id="{EFB7B9E6-F983-6D45-8A20-3781F95D57C5}"/>
              </a:ext>
            </a:extLst>
          </p:cNvPr>
          <p:cNvSpPr>
            <a:spLocks noGrp="1"/>
          </p:cNvSpPr>
          <p:nvPr>
            <p:ph type="sldNum" sz="quarter" idx="12"/>
          </p:nvPr>
        </p:nvSpPr>
        <p:spPr/>
        <p:txBody>
          <a:bodyPr/>
          <a:lstStyle/>
          <a:p>
            <a:fld id="{35E0A005-A203-4E4A-A5FC-1742ACA419F9}" type="slidenum">
              <a:rPr lang="es-ES_tradnl" smtClean="0"/>
              <a:t>‹#›</a:t>
            </a:fld>
            <a:endParaRPr lang="es-ES_tradnl" dirty="0"/>
          </a:p>
        </p:txBody>
      </p:sp>
    </p:spTree>
    <p:extLst>
      <p:ext uri="{BB962C8B-B14F-4D97-AF65-F5344CB8AC3E}">
        <p14:creationId xmlns:p14="http://schemas.microsoft.com/office/powerpoint/2010/main" val="377432660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Blank w/ Green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3637D93-7843-304E-A09E-30A247547AD6}"/>
              </a:ext>
            </a:extLst>
          </p:cNvPr>
          <p:cNvGraphicFramePr>
            <a:graphicFrameLocks noChangeAspect="1"/>
          </p:cNvGraphicFramePr>
          <p:nvPr userDrawn="1">
            <p:custDataLst>
              <p:tags r:id="rId1"/>
            </p:custDataLst>
            <p:extLst>
              <p:ext uri="{D42A27DB-BD31-4B8C-83A1-F6EECF244321}">
                <p14:modId xmlns:p14="http://schemas.microsoft.com/office/powerpoint/2010/main" val="2757489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13637D93-7843-304E-A09E-30A247547A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5AE808F9-EA2B-504C-A2F3-3364D8975BD4}"/>
              </a:ext>
            </a:extLst>
          </p:cNvPr>
          <p:cNvSpPr>
            <a:spLocks noGrp="1"/>
          </p:cNvSpPr>
          <p:nvPr>
            <p:ph sz="quarter" idx="10" hasCustomPrompt="1"/>
          </p:nvPr>
        </p:nvSpPr>
        <p:spPr>
          <a:xfrm>
            <a:off x="0" y="304800"/>
            <a:ext cx="11582400" cy="457200"/>
          </a:xfrm>
          <a:prstGeom prst="rect">
            <a:avLst/>
          </a:prstGeom>
        </p:spPr>
        <p:txBody>
          <a:bodyPr/>
          <a:lstStyle>
            <a:lvl1pPr marL="463550" indent="0">
              <a:tabLst/>
              <a:defRPr sz="3200" b="1" i="0">
                <a:latin typeface="Work Sans" pitchFamily="2" charset="77"/>
              </a:defRPr>
            </a:lvl1pPr>
          </a:lstStyle>
          <a:p>
            <a:pPr lvl="0"/>
            <a:r>
              <a:rPr lang="en-US"/>
              <a:t>Title</a:t>
            </a:r>
          </a:p>
        </p:txBody>
      </p:sp>
      <p:sp>
        <p:nvSpPr>
          <p:cNvPr id="16" name="Content Placeholder 14">
            <a:extLst>
              <a:ext uri="{FF2B5EF4-FFF2-40B4-BE49-F238E27FC236}">
                <a16:creationId xmlns:a16="http://schemas.microsoft.com/office/drawing/2014/main" id="{DDBFD0AC-EDF1-6142-B532-97144ECA12D5}"/>
              </a:ext>
            </a:extLst>
          </p:cNvPr>
          <p:cNvSpPr>
            <a:spLocks noGrp="1"/>
          </p:cNvSpPr>
          <p:nvPr>
            <p:ph sz="quarter" idx="11" hasCustomPrompt="1"/>
          </p:nvPr>
        </p:nvSpPr>
        <p:spPr>
          <a:xfrm>
            <a:off x="0" y="990600"/>
            <a:ext cx="11582400" cy="457200"/>
          </a:xfrm>
          <a:prstGeom prst="rect">
            <a:avLst/>
          </a:prstGeom>
        </p:spPr>
        <p:txBody>
          <a:bodyPr/>
          <a:lstStyle>
            <a:lvl1pPr marL="463550" indent="0">
              <a:tabLst/>
              <a:defRPr sz="2400" b="0" i="0">
                <a:solidFill>
                  <a:schemeClr val="accent1"/>
                </a:solidFill>
                <a:latin typeface="Work Sans" pitchFamily="2" charset="77"/>
              </a:defRPr>
            </a:lvl1pPr>
          </a:lstStyle>
          <a:p>
            <a:pPr lvl="0"/>
            <a:r>
              <a:rPr lang="en-US"/>
              <a:t>Subtitle</a:t>
            </a:r>
          </a:p>
        </p:txBody>
      </p:sp>
      <p:cxnSp>
        <p:nvCxnSpPr>
          <p:cNvPr id="5" name="Straight Connector 4">
            <a:extLst>
              <a:ext uri="{FF2B5EF4-FFF2-40B4-BE49-F238E27FC236}">
                <a16:creationId xmlns:a16="http://schemas.microsoft.com/office/drawing/2014/main" id="{487420CF-3151-8646-A12F-392774BFC63D}"/>
              </a:ext>
            </a:extLst>
          </p:cNvPr>
          <p:cNvCxnSpPr>
            <a:cxnSpLocks/>
          </p:cNvCxnSpPr>
          <p:nvPr userDrawn="1"/>
        </p:nvCxnSpPr>
        <p:spPr>
          <a:xfrm>
            <a:off x="0" y="914400"/>
            <a:ext cx="2438400" cy="0"/>
          </a:xfrm>
          <a:prstGeom prst="line">
            <a:avLst/>
          </a:prstGeom>
          <a:ln w="3810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6871179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wo Column w/ Green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3637D93-7843-304E-A09E-30A247547AD6}"/>
              </a:ext>
            </a:extLst>
          </p:cNvPr>
          <p:cNvGraphicFramePr>
            <a:graphicFrameLocks noChangeAspect="1"/>
          </p:cNvGraphicFramePr>
          <p:nvPr userDrawn="1">
            <p:custDataLst>
              <p:tags r:id="rId1"/>
            </p:custDataLst>
            <p:extLst>
              <p:ext uri="{D42A27DB-BD31-4B8C-83A1-F6EECF244321}">
                <p14:modId xmlns:p14="http://schemas.microsoft.com/office/powerpoint/2010/main" val="40130666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13637D93-7843-304E-A09E-30A247547A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5AE808F9-EA2B-504C-A2F3-3364D8975BD4}"/>
              </a:ext>
            </a:extLst>
          </p:cNvPr>
          <p:cNvSpPr>
            <a:spLocks noGrp="1"/>
          </p:cNvSpPr>
          <p:nvPr>
            <p:ph sz="quarter" idx="10" hasCustomPrompt="1"/>
          </p:nvPr>
        </p:nvSpPr>
        <p:spPr>
          <a:xfrm>
            <a:off x="0" y="304800"/>
            <a:ext cx="11582400" cy="457200"/>
          </a:xfrm>
          <a:prstGeom prst="rect">
            <a:avLst/>
          </a:prstGeom>
        </p:spPr>
        <p:txBody>
          <a:bodyPr/>
          <a:lstStyle>
            <a:lvl1pPr marL="463550" indent="0">
              <a:tabLst/>
              <a:defRPr sz="3200" b="1" i="0">
                <a:latin typeface="Work Sans" pitchFamily="2" charset="77"/>
              </a:defRPr>
            </a:lvl1pPr>
          </a:lstStyle>
          <a:p>
            <a:pPr lvl="0"/>
            <a:r>
              <a:rPr lang="en-US"/>
              <a:t>Two Column</a:t>
            </a:r>
          </a:p>
        </p:txBody>
      </p:sp>
      <p:sp>
        <p:nvSpPr>
          <p:cNvPr id="16" name="Content Placeholder 14">
            <a:extLst>
              <a:ext uri="{FF2B5EF4-FFF2-40B4-BE49-F238E27FC236}">
                <a16:creationId xmlns:a16="http://schemas.microsoft.com/office/drawing/2014/main" id="{DDBFD0AC-EDF1-6142-B532-97144ECA12D5}"/>
              </a:ext>
            </a:extLst>
          </p:cNvPr>
          <p:cNvSpPr>
            <a:spLocks noGrp="1"/>
          </p:cNvSpPr>
          <p:nvPr>
            <p:ph sz="quarter" idx="11" hasCustomPrompt="1"/>
          </p:nvPr>
        </p:nvSpPr>
        <p:spPr>
          <a:xfrm>
            <a:off x="0" y="990600"/>
            <a:ext cx="11582400" cy="457200"/>
          </a:xfrm>
          <a:prstGeom prst="rect">
            <a:avLst/>
          </a:prstGeom>
        </p:spPr>
        <p:txBody>
          <a:bodyPr/>
          <a:lstStyle>
            <a:lvl1pPr marL="463550" indent="0">
              <a:tabLst/>
              <a:defRPr sz="2400" b="0" i="0">
                <a:solidFill>
                  <a:schemeClr val="accent1"/>
                </a:solidFill>
                <a:latin typeface="Work Sans" pitchFamily="2" charset="77"/>
              </a:defRPr>
            </a:lvl1pPr>
          </a:lstStyle>
          <a:p>
            <a:pPr lvl="0"/>
            <a:r>
              <a:rPr lang="en-US"/>
              <a:t>Subtitle</a:t>
            </a:r>
          </a:p>
        </p:txBody>
      </p:sp>
      <p:sp>
        <p:nvSpPr>
          <p:cNvPr id="3" name="Text Placeholder 2">
            <a:extLst>
              <a:ext uri="{FF2B5EF4-FFF2-40B4-BE49-F238E27FC236}">
                <a16:creationId xmlns:a16="http://schemas.microsoft.com/office/drawing/2014/main" id="{13B2E281-494E-E34C-9DAD-133152DE69AD}"/>
              </a:ext>
            </a:extLst>
          </p:cNvPr>
          <p:cNvSpPr>
            <a:spLocks noGrp="1"/>
          </p:cNvSpPr>
          <p:nvPr>
            <p:ph type="body" sz="quarter" idx="12" hasCustomPrompt="1"/>
          </p:nvPr>
        </p:nvSpPr>
        <p:spPr>
          <a:xfrm>
            <a:off x="609600" y="1828800"/>
            <a:ext cx="5334000" cy="4114800"/>
          </a:xfrm>
          <a:prstGeom prst="rect">
            <a:avLst/>
          </a:prstGeom>
        </p:spPr>
        <p:txBody>
          <a:bodyPr numCol="2"/>
          <a:lstStyle>
            <a:lvl1pPr>
              <a:defRPr sz="1400">
                <a:latin typeface="Work Sans" pitchFamily="2" charset="77"/>
              </a:defRPr>
            </a:lvl1pPr>
            <a:lvl2pPr>
              <a:defRPr sz="1400">
                <a:latin typeface="WORK SANS REGULAR ROMAN" pitchFamily="2" charset="77"/>
              </a:defRPr>
            </a:lvl2pPr>
            <a:lvl3pPr>
              <a:defRPr sz="1400">
                <a:latin typeface="WORK SANS REGULAR ROMAN" pitchFamily="2" charset="77"/>
              </a:defRPr>
            </a:lvl3pPr>
            <a:lvl4pPr>
              <a:defRPr sz="1400">
                <a:latin typeface="WORK SANS REGULAR ROMAN" pitchFamily="2" charset="77"/>
              </a:defRPr>
            </a:lvl4pPr>
            <a:lvl5pPr>
              <a:defRPr sz="1400">
                <a:latin typeface="WORK SANS REGULAR ROMAN" pitchFamily="2" charset="77"/>
              </a:defRPr>
            </a:lvl5pPr>
          </a:lstStyle>
          <a:p>
            <a:pPr lvl="0"/>
            <a:r>
              <a:rPr lang="en-US"/>
              <a:t>Lorem ipsum.</a:t>
            </a:r>
          </a:p>
        </p:txBody>
      </p:sp>
      <p:sp>
        <p:nvSpPr>
          <p:cNvPr id="6" name="Text Placeholder 2">
            <a:extLst>
              <a:ext uri="{FF2B5EF4-FFF2-40B4-BE49-F238E27FC236}">
                <a16:creationId xmlns:a16="http://schemas.microsoft.com/office/drawing/2014/main" id="{2ECB131C-96F9-3341-822B-FE1896F92AEC}"/>
              </a:ext>
            </a:extLst>
          </p:cNvPr>
          <p:cNvSpPr>
            <a:spLocks noGrp="1"/>
          </p:cNvSpPr>
          <p:nvPr>
            <p:ph type="body" sz="quarter" idx="13" hasCustomPrompt="1"/>
          </p:nvPr>
        </p:nvSpPr>
        <p:spPr>
          <a:xfrm>
            <a:off x="6248402" y="1828800"/>
            <a:ext cx="5334000" cy="4114800"/>
          </a:xfrm>
          <a:prstGeom prst="rect">
            <a:avLst/>
          </a:prstGeom>
        </p:spPr>
        <p:txBody>
          <a:bodyPr numCol="2"/>
          <a:lstStyle>
            <a:lvl1pPr>
              <a:defRPr sz="1400">
                <a:latin typeface="Work Sans" pitchFamily="2" charset="77"/>
              </a:defRPr>
            </a:lvl1pPr>
            <a:lvl2pPr>
              <a:defRPr sz="1400">
                <a:latin typeface="WORK SANS REGULAR ROMAN" pitchFamily="2" charset="77"/>
              </a:defRPr>
            </a:lvl2pPr>
            <a:lvl3pPr>
              <a:defRPr sz="1400">
                <a:latin typeface="WORK SANS REGULAR ROMAN" pitchFamily="2" charset="77"/>
              </a:defRPr>
            </a:lvl3pPr>
            <a:lvl4pPr>
              <a:defRPr sz="1400">
                <a:latin typeface="WORK SANS REGULAR ROMAN" pitchFamily="2" charset="77"/>
              </a:defRPr>
            </a:lvl4pPr>
            <a:lvl5pPr>
              <a:defRPr sz="1400">
                <a:latin typeface="WORK SANS REGULAR ROMAN" pitchFamily="2" charset="77"/>
              </a:defRPr>
            </a:lvl5pPr>
          </a:lstStyle>
          <a:p>
            <a:pPr lvl="0"/>
            <a:r>
              <a:rPr lang="en-US"/>
              <a:t>Lorem ipsum.</a:t>
            </a:r>
          </a:p>
        </p:txBody>
      </p:sp>
      <p:cxnSp>
        <p:nvCxnSpPr>
          <p:cNvPr id="8" name="Straight Connector 7">
            <a:extLst>
              <a:ext uri="{FF2B5EF4-FFF2-40B4-BE49-F238E27FC236}">
                <a16:creationId xmlns:a16="http://schemas.microsoft.com/office/drawing/2014/main" id="{C102C0E1-BE14-0340-854C-D017F73D9722}"/>
              </a:ext>
            </a:extLst>
          </p:cNvPr>
          <p:cNvCxnSpPr>
            <a:cxnSpLocks/>
          </p:cNvCxnSpPr>
          <p:nvPr userDrawn="1"/>
        </p:nvCxnSpPr>
        <p:spPr>
          <a:xfrm>
            <a:off x="0" y="914400"/>
            <a:ext cx="2438400" cy="0"/>
          </a:xfrm>
          <a:prstGeom prst="line">
            <a:avLst/>
          </a:prstGeom>
          <a:ln w="3810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48250196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PhAnim="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925C-7845-4EE2-A88F-20F57FE70D02}"/>
              </a:ext>
            </a:extLst>
          </p:cNvPr>
          <p:cNvSpPr>
            <a:spLocks noGrp="1"/>
          </p:cNvSpPr>
          <p:nvPr>
            <p:ph type="title"/>
          </p:nvPr>
        </p:nvSpPr>
        <p:spPr>
          <a:xfrm>
            <a:off x="71687" y="136525"/>
            <a:ext cx="11991975" cy="1152345"/>
          </a:xfrm>
        </p:spPr>
        <p:txBody>
          <a:bodyPr/>
          <a:lstStyle>
            <a:lvl1pPr>
              <a:defRPr sz="2400" b="1">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97248AC-B1E6-4AF5-BEB0-DAEC85305A72}"/>
              </a:ext>
            </a:extLst>
          </p:cNvPr>
          <p:cNvSpPr>
            <a:spLocks noGrp="1"/>
          </p:cNvSpPr>
          <p:nvPr>
            <p:ph idx="1"/>
          </p:nvPr>
        </p:nvSpPr>
        <p:spPr>
          <a:xfrm>
            <a:off x="71687" y="1393371"/>
            <a:ext cx="11991975" cy="4783592"/>
          </a:xfrm>
        </p:spPr>
        <p:txBody>
          <a:bodyPr/>
          <a:lstStyle>
            <a:lvl1pPr>
              <a:defRPr>
                <a:solidFill>
                  <a:schemeClr val="tx1"/>
                </a:solidFill>
              </a:defRPr>
            </a:lvl1pPr>
            <a:lvl2pPr>
              <a:defRPr>
                <a:solidFill>
                  <a:schemeClr val="tx1"/>
                </a:solidFill>
              </a:defRPr>
            </a:lvl2pPr>
            <a:lvl3pPr>
              <a:defRPr>
                <a:solidFill>
                  <a:schemeClr val="tx1"/>
                </a:solidFill>
              </a:defRPr>
            </a:lvl3pPr>
            <a:lvl4pPr marL="1371600" indent="0">
              <a:buNone/>
              <a:defRPr>
                <a:solidFill>
                  <a:schemeClr val="tx1"/>
                </a:solidFill>
              </a:defRPr>
            </a:lvl4pPr>
          </a:lstStyle>
          <a:p>
            <a:pPr lvl="0"/>
            <a:r>
              <a:rPr lang="en-US"/>
              <a:t>Click to edit Master text styles</a:t>
            </a:r>
          </a:p>
          <a:p>
            <a:pPr lvl="1"/>
            <a:r>
              <a:rPr lang="en-US"/>
              <a:t>Second level</a:t>
            </a:r>
          </a:p>
          <a:p>
            <a:pPr lvl="2"/>
            <a:r>
              <a:rPr lang="en-US"/>
              <a:t>Third level</a:t>
            </a:r>
          </a:p>
          <a:p>
            <a:pPr lvl="3"/>
            <a:endParaRPr lang="en-US"/>
          </a:p>
        </p:txBody>
      </p:sp>
      <p:sp>
        <p:nvSpPr>
          <p:cNvPr id="6" name="Slide Number Placeholder 5">
            <a:extLst>
              <a:ext uri="{FF2B5EF4-FFF2-40B4-BE49-F238E27FC236}">
                <a16:creationId xmlns:a16="http://schemas.microsoft.com/office/drawing/2014/main" id="{55E422A2-8C74-45BD-A87E-80FB938061CF}"/>
              </a:ext>
            </a:extLst>
          </p:cNvPr>
          <p:cNvSpPr>
            <a:spLocks noGrp="1"/>
          </p:cNvSpPr>
          <p:nvPr>
            <p:ph type="sldNum" sz="quarter" idx="12"/>
          </p:nvPr>
        </p:nvSpPr>
        <p:spPr>
          <a:xfrm>
            <a:off x="11502189" y="6356350"/>
            <a:ext cx="561474" cy="501650"/>
          </a:xfrm>
          <a:prstGeom prst="rect">
            <a:avLst/>
          </a:prstGeom>
        </p:spPr>
        <p:txBody>
          <a:bodyPr/>
          <a:lstStyle/>
          <a:p>
            <a:fld id="{45DD850A-48CF-4963-9607-58D982076C8A}" type="slidenum">
              <a:rPr lang="en-US" smtClean="0"/>
              <a:t>‹#›</a:t>
            </a:fld>
            <a:endParaRPr lang="en-US" dirty="0"/>
          </a:p>
        </p:txBody>
      </p:sp>
      <p:sp>
        <p:nvSpPr>
          <p:cNvPr id="9" name="Content Placeholder 2">
            <a:extLst>
              <a:ext uri="{FF2B5EF4-FFF2-40B4-BE49-F238E27FC236}">
                <a16:creationId xmlns:a16="http://schemas.microsoft.com/office/drawing/2014/main" id="{7E1EF5F8-9AD9-4FA5-8593-375C2F92D645}"/>
              </a:ext>
            </a:extLst>
          </p:cNvPr>
          <p:cNvSpPr>
            <a:spLocks noGrp="1"/>
          </p:cNvSpPr>
          <p:nvPr>
            <p:ph idx="11" hasCustomPrompt="1"/>
          </p:nvPr>
        </p:nvSpPr>
        <p:spPr>
          <a:xfrm>
            <a:off x="1254071" y="6356350"/>
            <a:ext cx="10099729" cy="482194"/>
          </a:xfrm>
        </p:spPr>
        <p:txBody>
          <a:bodyPr anchor="ctr"/>
          <a:lstStyle>
            <a:lvl1pPr>
              <a:buNone/>
              <a:defRPr sz="900" i="1">
                <a:solidFill>
                  <a:schemeClr val="tx2"/>
                </a:solidFill>
              </a:defRPr>
            </a:lvl1pPr>
            <a:lvl2pPr>
              <a:defRPr sz="2400"/>
            </a:lvl2pPr>
            <a:lvl3pPr>
              <a:defRPr sz="2400"/>
            </a:lvl3pPr>
            <a:lvl4pPr marL="1371600" indent="0">
              <a:buNone/>
              <a:defRPr/>
            </a:lvl4pPr>
          </a:lstStyle>
          <a:p>
            <a:pPr lvl="0"/>
            <a:r>
              <a:rPr lang="en-US"/>
              <a:t>Click to edit footnotes</a:t>
            </a:r>
          </a:p>
        </p:txBody>
      </p:sp>
    </p:spTree>
    <p:extLst>
      <p:ext uri="{BB962C8B-B14F-4D97-AF65-F5344CB8AC3E}">
        <p14:creationId xmlns:p14="http://schemas.microsoft.com/office/powerpoint/2010/main" val="4569940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5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310769760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PhAnim="0" preserve="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38236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PhAnim="0" preserve="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152521116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PhAnim="0" preserve="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78737439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PhAnim="0" preserve="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p:nvGrpSpPr>
        <p:grpSpPr>
          <a:xfrm>
            <a:off x="146933" y="1996751"/>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218083026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PhAnim="0" preserve="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4276502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79160780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PhAnim="0" preserve="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r>
              <a:rPr lang="es-MX"/>
              <a:t>Haz clic en el icono para agregar una imagen</a:t>
            </a:r>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321411261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PhAnim="0" preserve="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r>
              <a:rPr lang="es-MX"/>
              <a:t>Haz clic en el icono para agregar una imagen</a:t>
            </a:r>
            <a:endParaRPr lang="es-CO"/>
          </a:p>
        </p:txBody>
      </p:sp>
      <p:sp>
        <p:nvSpPr>
          <p:cNvPr id="3" name="Rectangle 2">
            <a:extLst>
              <a:ext uri="{FF2B5EF4-FFF2-40B4-BE49-F238E27FC236}">
                <a16:creationId xmlns:a16="http://schemas.microsoft.com/office/drawing/2014/main" id="{FB3F6377-E847-A0C6-F520-122248FABD04}"/>
              </a:ext>
            </a:extLst>
          </p:cNvPr>
          <p:cNvSpPr/>
          <p:nvPr/>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26326400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PhAnim="0" preserve="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180553707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PhAnim="0" preserve="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r>
              <a:rPr lang="es-MX"/>
              <a:t>Haz clic en el icono para agregar una imagen</a:t>
            </a:r>
            <a:endParaRPr lang="es-CO"/>
          </a:p>
        </p:txBody>
      </p:sp>
      <p:sp>
        <p:nvSpPr>
          <p:cNvPr id="17" name="Rectángulo 37">
            <a:extLst>
              <a:ext uri="{FF2B5EF4-FFF2-40B4-BE49-F238E27FC236}">
                <a16:creationId xmlns:a16="http://schemas.microsoft.com/office/drawing/2014/main" id="{3B26E765-45BE-2F2E-CCFF-E6CEC51D8ED3}"/>
              </a:ext>
            </a:extLst>
          </p:cNvPr>
          <p:cNvSpPr/>
          <p:nvPr/>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44054629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PhAnim="0" preserve="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93728349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PhAnim="0" preserve="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16578711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PhAnim="0" preserve="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31913773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PhAnim="0" preserve="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245775847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34800553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01135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40185640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2733634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7158069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Main">
    <p:spTree>
      <p:nvGrpSpPr>
        <p:cNvPr id="1" name=""/>
        <p:cNvGrpSpPr/>
        <p:nvPr/>
      </p:nvGrpSpPr>
      <p:grpSpPr>
        <a:xfrm>
          <a:off x="0" y="0"/>
          <a:ext cx="0" cy="0"/>
          <a:chOff x="0" y="0"/>
          <a:chExt cx="0" cy="0"/>
        </a:xfrm>
      </p:grpSpPr>
      <p:sp>
        <p:nvSpPr>
          <p:cNvPr id="38" name="Shape 2"/>
          <p:cNvSpPr/>
          <p:nvPr/>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822802641"/>
      </p:ext>
    </p:extLst>
  </p:cSld>
  <p:clrMapOvr>
    <a:masterClrMapping/>
  </p:clrMapOvr>
  <p:transition spd="slow" advTm="2000">
    <p:cover dir="d"/>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309738695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82062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r>
              <a:rPr lang="es-MX"/>
              <a:t>Haga clic para modificar los estilos de texto del patrón</a:t>
            </a:r>
          </a:p>
        </p:txBody>
      </p:sp>
    </p:spTree>
    <p:extLst>
      <p:ext uri="{BB962C8B-B14F-4D97-AF65-F5344CB8AC3E}">
        <p14:creationId xmlns:p14="http://schemas.microsoft.com/office/powerpoint/2010/main" val="31747130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03675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06852563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PhAnim="0" userDrawn="1">
  <p:cSld name="1_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387060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Diapositiva de título">
    <p:bg>
      <p:bgPr>
        <a:solidFill>
          <a:srgbClr val="6200EE"/>
        </a:solidFill>
        <a:effectLst/>
      </p:bgPr>
    </p:bg>
    <p:spTree>
      <p:nvGrpSpPr>
        <p:cNvPr id="1" name=""/>
        <p:cNvGrpSpPr/>
        <p:nvPr/>
      </p:nvGrpSpPr>
      <p:grpSpPr>
        <a:xfrm>
          <a:off x="0" y="0"/>
          <a:ext cx="0" cy="0"/>
          <a:chOff x="0" y="0"/>
          <a:chExt cx="0" cy="0"/>
        </a:xfrm>
      </p:grpSpPr>
      <p:pic>
        <p:nvPicPr>
          <p:cNvPr id="3" name="Imagen 2" descr="Icono&#10;&#10;Descripción generada automáticamente con confianza media">
            <a:extLst>
              <a:ext uri="{FF2B5EF4-FFF2-40B4-BE49-F238E27FC236}">
                <a16:creationId xmlns:a16="http://schemas.microsoft.com/office/drawing/2014/main" id="{74C8951A-C480-6462-08BC-10A53B3A8F90}"/>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02885" y="5891327"/>
            <a:ext cx="575295" cy="134562"/>
          </a:xfrm>
          <a:prstGeom prst="rect">
            <a:avLst/>
          </a:prstGeom>
        </p:spPr>
      </p:pic>
      <p:sp>
        <p:nvSpPr>
          <p:cNvPr id="4" name="Picture Placeholder 3">
            <a:extLst>
              <a:ext uri="{FF2B5EF4-FFF2-40B4-BE49-F238E27FC236}">
                <a16:creationId xmlns:a16="http://schemas.microsoft.com/office/drawing/2014/main" id="{8BD6049C-2BE0-EF10-DADE-AC579DA7BE0B}"/>
              </a:ext>
            </a:extLst>
          </p:cNvPr>
          <p:cNvSpPr>
            <a:spLocks noGrp="1"/>
          </p:cNvSpPr>
          <p:nvPr>
            <p:ph type="pic" sz="quarter" idx="12" hasCustomPrompt="1"/>
          </p:nvPr>
        </p:nvSpPr>
        <p:spPr>
          <a:xfrm>
            <a:off x="165174" y="256186"/>
            <a:ext cx="450715" cy="420241"/>
          </a:xfrm>
          <a:prstGeom prst="rect">
            <a:avLst/>
          </a:prstGeom>
          <a:solidFill>
            <a:srgbClr val="FFFFFF"/>
          </a:solidFill>
        </p:spPr>
        <p:txBody>
          <a:bodyPr anchor="ctr"/>
          <a:lstStyle>
            <a:lvl1pPr marL="0" indent="0" algn="ctr">
              <a:lnSpc>
                <a:spcPct val="100000"/>
              </a:lnSpc>
              <a:spcBef>
                <a:spcPts val="0"/>
              </a:spcBef>
              <a:buNone/>
              <a:defRPr sz="800"/>
            </a:lvl1pPr>
          </a:lstStyle>
          <a:p>
            <a:r>
              <a:rPr lang="es-CO" dirty="0"/>
              <a:t>Logo here</a:t>
            </a:r>
          </a:p>
        </p:txBody>
      </p:sp>
      <p:cxnSp>
        <p:nvCxnSpPr>
          <p:cNvPr id="5" name="Conector recto 4">
            <a:extLst>
              <a:ext uri="{FF2B5EF4-FFF2-40B4-BE49-F238E27FC236}">
                <a16:creationId xmlns:a16="http://schemas.microsoft.com/office/drawing/2014/main" id="{043E04FA-A9CF-CF79-C59A-9FD1245095BE}"/>
              </a:ext>
            </a:extLst>
          </p:cNvPr>
          <p:cNvCxnSpPr/>
          <p:nvPr/>
        </p:nvCxnSpPr>
        <p:spPr>
          <a:xfrm>
            <a:off x="0" y="4400434"/>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793BAE32-5BBF-015E-8057-5EB819B10410}"/>
              </a:ext>
            </a:extLst>
          </p:cNvPr>
          <p:cNvCxnSpPr/>
          <p:nvPr/>
        </p:nvCxnSpPr>
        <p:spPr>
          <a:xfrm>
            <a:off x="0" y="4543689"/>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56D6F88-F512-6EDE-3ECB-04408191AF04}"/>
              </a:ext>
            </a:extLst>
          </p:cNvPr>
          <p:cNvCxnSpPr/>
          <p:nvPr/>
        </p:nvCxnSpPr>
        <p:spPr>
          <a:xfrm>
            <a:off x="0" y="4675007"/>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28B6BE3C-D673-8CEB-5933-9FA24C74C0BD}"/>
              </a:ext>
            </a:extLst>
          </p:cNvPr>
          <p:cNvCxnSpPr/>
          <p:nvPr/>
        </p:nvCxnSpPr>
        <p:spPr>
          <a:xfrm>
            <a:off x="0" y="4842859"/>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FFAFF1A9-6DF7-5BA7-F833-1C5D47D1F411}"/>
              </a:ext>
            </a:extLst>
          </p:cNvPr>
          <p:cNvCxnSpPr/>
          <p:nvPr/>
        </p:nvCxnSpPr>
        <p:spPr>
          <a:xfrm>
            <a:off x="1782618" y="5513415"/>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8B95D2BA-FAB8-547C-7F3F-480B2D2CD146}"/>
              </a:ext>
            </a:extLst>
          </p:cNvPr>
          <p:cNvCxnSpPr/>
          <p:nvPr/>
        </p:nvCxnSpPr>
        <p:spPr>
          <a:xfrm>
            <a:off x="1782618" y="5656670"/>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510AEE90-597C-D943-1F40-59CF579889A9}"/>
              </a:ext>
            </a:extLst>
          </p:cNvPr>
          <p:cNvCxnSpPr/>
          <p:nvPr/>
        </p:nvCxnSpPr>
        <p:spPr>
          <a:xfrm>
            <a:off x="1782618" y="5787988"/>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7D050868-1F8B-97A3-2D19-7881353204C3}"/>
              </a:ext>
            </a:extLst>
          </p:cNvPr>
          <p:cNvCxnSpPr/>
          <p:nvPr/>
        </p:nvCxnSpPr>
        <p:spPr>
          <a:xfrm>
            <a:off x="1782618" y="5955840"/>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5324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412773604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Diseño personalizado">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71CE73B9-8DF5-AE9C-B619-9D3AC0FB5C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Marcador de fecha 3">
            <a:extLst>
              <a:ext uri="{FF2B5EF4-FFF2-40B4-BE49-F238E27FC236}">
                <a16:creationId xmlns:a16="http://schemas.microsoft.com/office/drawing/2014/main" id="{03C87284-7CAD-029F-8705-752521FE8695}"/>
              </a:ext>
            </a:extLst>
          </p:cNvPr>
          <p:cNvSpPr>
            <a:spLocks noGrp="1"/>
          </p:cNvSpPr>
          <p:nvPr>
            <p:ph type="dt" sz="half" idx="10"/>
          </p:nvPr>
        </p:nvSpPr>
        <p:spPr>
          <a:xfrm>
            <a:off x="1989488" y="2064510"/>
            <a:ext cx="5147293" cy="365125"/>
          </a:xfrm>
          <a:prstGeom prst="rect">
            <a:avLst/>
          </a:prstGeom>
        </p:spPr>
        <p:txBody>
          <a:bodyPr/>
          <a:lstStyle>
            <a:lvl1pPr marL="0" indent="0" algn="l">
              <a:buFont typeface="Arial" panose="020B0604020202020204" pitchFamily="34" charset="0"/>
              <a:buNone/>
              <a:defRPr sz="6600" b="0" i="0">
                <a:solidFill>
                  <a:srgbClr val="442E98"/>
                </a:solidFill>
                <a:latin typeface="Poppins Medium" pitchFamily="2" charset="77"/>
                <a:cs typeface="Poppins Medium" pitchFamily="2" charset="77"/>
              </a:defRPr>
            </a:lvl1pPr>
          </a:lstStyle>
          <a:p>
            <a:r>
              <a:rPr lang="en-US"/>
              <a:t>TÍTULO</a:t>
            </a:r>
          </a:p>
        </p:txBody>
      </p:sp>
      <p:sp>
        <p:nvSpPr>
          <p:cNvPr id="3" name="Marcador de fecha 3">
            <a:extLst>
              <a:ext uri="{FF2B5EF4-FFF2-40B4-BE49-F238E27FC236}">
                <a16:creationId xmlns:a16="http://schemas.microsoft.com/office/drawing/2014/main" id="{054D8A8B-DE6E-298B-E9B8-53DA8B7B2B92}"/>
              </a:ext>
            </a:extLst>
          </p:cNvPr>
          <p:cNvSpPr txBox="1">
            <a:spLocks/>
          </p:cNvSpPr>
          <p:nvPr/>
        </p:nvSpPr>
        <p:spPr>
          <a:xfrm>
            <a:off x="2487576" y="2819076"/>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i="0">
                <a:solidFill>
                  <a:srgbClr val="8D80FE"/>
                </a:solidFill>
                <a:latin typeface="Poppins Medium" pitchFamily="2" charset="77"/>
                <a:cs typeface="Poppins Medium" pitchFamily="2" charset="77"/>
              </a:rPr>
              <a:t>PROYECTO</a:t>
            </a:r>
          </a:p>
        </p:txBody>
      </p:sp>
      <p:sp>
        <p:nvSpPr>
          <p:cNvPr id="6" name="Marcador de fecha 3">
            <a:extLst>
              <a:ext uri="{FF2B5EF4-FFF2-40B4-BE49-F238E27FC236}">
                <a16:creationId xmlns:a16="http://schemas.microsoft.com/office/drawing/2014/main" id="{48526D49-0362-91A2-D6F0-A88EF0049DF8}"/>
              </a:ext>
            </a:extLst>
          </p:cNvPr>
          <p:cNvSpPr txBox="1">
            <a:spLocks/>
          </p:cNvSpPr>
          <p:nvPr/>
        </p:nvSpPr>
        <p:spPr>
          <a:xfrm>
            <a:off x="2487576" y="4096130"/>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D5B9FF"/>
                </a:solidFill>
                <a:effectLst/>
                <a:uLnTx/>
                <a:uFillTx/>
                <a:latin typeface="Poppins Light"/>
                <a:ea typeface="+mn-ea"/>
                <a:cs typeface="+mn-cs"/>
              </a:rPr>
              <a:t>Friday, March 22, 2024</a:t>
            </a: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a:p>
            <a:endParaRPr lang="en-US" b="0">
              <a:solidFill>
                <a:schemeClr val="bg2">
                  <a:lumMod val="50000"/>
                </a:schemeClr>
              </a:solidFill>
            </a:endParaRPr>
          </a:p>
        </p:txBody>
      </p:sp>
      <p:sp>
        <p:nvSpPr>
          <p:cNvPr id="7" name="Marcador de fecha 3">
            <a:extLst>
              <a:ext uri="{FF2B5EF4-FFF2-40B4-BE49-F238E27FC236}">
                <a16:creationId xmlns:a16="http://schemas.microsoft.com/office/drawing/2014/main" id="{EDB26460-9DEC-831B-19A5-7337CA685E74}"/>
              </a:ext>
            </a:extLst>
          </p:cNvPr>
          <p:cNvSpPr txBox="1">
            <a:spLocks/>
          </p:cNvSpPr>
          <p:nvPr/>
        </p:nvSpPr>
        <p:spPr>
          <a:xfrm>
            <a:off x="2487576" y="3736766"/>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40009E"/>
                </a:solidFill>
              </a:rPr>
              <a:t>Descripción</a:t>
            </a:r>
          </a:p>
        </p:txBody>
      </p:sp>
      <p:sp>
        <p:nvSpPr>
          <p:cNvPr id="8" name="CuadroTexto 7">
            <a:extLst>
              <a:ext uri="{FF2B5EF4-FFF2-40B4-BE49-F238E27FC236}">
                <a16:creationId xmlns:a16="http://schemas.microsoft.com/office/drawing/2014/main" id="{201AFD48-EFA7-DA6F-190D-D68CB28B704C}"/>
              </a:ext>
            </a:extLst>
          </p:cNvPr>
          <p:cNvSpPr txBox="1"/>
          <p:nvPr/>
        </p:nvSpPr>
        <p:spPr>
          <a:xfrm>
            <a:off x="6096000" y="4959201"/>
            <a:ext cx="5780049" cy="1831271"/>
          </a:xfrm>
          <a:prstGeom prst="rect">
            <a:avLst/>
          </a:prstGeom>
          <a:noFill/>
        </p:spPr>
        <p:txBody>
          <a:bodyPr wrap="square" rtlCol="0">
            <a:spAutoFit/>
          </a:bodyPr>
          <a:lstStyle/>
          <a:p>
            <a:pPr algn="r"/>
            <a:r>
              <a:rPr lang="es-CO" sz="3200" b="1" i="0" u="none" dirty="0">
                <a:solidFill>
                  <a:srgbClr val="442E98"/>
                </a:solidFill>
                <a:effectLst/>
                <a:latin typeface="+mj-lt"/>
                <a:cs typeface="Poppins Medium" pitchFamily="2" charset="77"/>
                <a:hlinkClick r:id="rId3">
                  <a:extLst>
                    <a:ext uri="{A12FA001-AC4F-418D-AE19-62706E023703}">
                      <ahyp:hlinkClr xmlns:ahyp="http://schemas.microsoft.com/office/drawing/2018/hyperlinkcolor" val="tx"/>
                    </a:ext>
                  </a:extLst>
                </a:hlinkClick>
              </a:rPr>
              <a:t>www.iotaimpact.com</a:t>
            </a:r>
            <a:endParaRPr lang="es-CO" sz="3200" b="1" i="0" u="none" dirty="0">
              <a:solidFill>
                <a:srgbClr val="442E98"/>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u="none" dirty="0">
                <a:solidFill>
                  <a:srgbClr val="4F37A3"/>
                </a:solidFill>
                <a:effectLst/>
                <a:latin typeface="+mj-lt"/>
                <a:cs typeface="Poppins" pitchFamily="2" charset="77"/>
                <a:hlinkClick r:id="rId4"/>
              </a:rPr>
              <a:t>andres@iotaimpact.com</a:t>
            </a:r>
            <a:endParaRPr lang="es-CO" i="0" u="none" dirty="0">
              <a:solidFill>
                <a:srgbClr val="4F37A3"/>
              </a:solidFill>
              <a:effectLst/>
              <a:latin typeface="+mj-lt"/>
              <a:cs typeface="Poppins"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dirty="0">
                <a:solidFill>
                  <a:srgbClr val="442E98"/>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rgbClr val="442E98"/>
                </a:solidFill>
                <a:effectLst/>
                <a:latin typeface="+mj-lt"/>
              </a:rPr>
              <a:t>@iotaimpactlatam</a:t>
            </a:r>
            <a:endParaRPr lang="es-CO" dirty="0">
              <a:solidFill>
                <a:srgbClr val="442E98"/>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dirty="0">
                <a:solidFill>
                  <a:srgbClr val="545454"/>
                </a:solidFill>
                <a:effectLst/>
                <a:latin typeface="+mj-lt"/>
              </a:rPr>
              <a:t>Confidential and proprietary. Not for distribution without IOTA Impact's permission.</a:t>
            </a:r>
            <a:endParaRPr lang="es-CO" sz="900" dirty="0">
              <a:solidFill>
                <a:srgbClr val="545454"/>
              </a:solidFill>
              <a:effectLst/>
              <a:latin typeface="+mj-lt"/>
            </a:endParaRPr>
          </a:p>
          <a:p>
            <a:endParaRPr lang="es-CO" dirty="0"/>
          </a:p>
        </p:txBody>
      </p:sp>
      <p:pic>
        <p:nvPicPr>
          <p:cNvPr id="9" name="Imagen 8">
            <a:extLst>
              <a:ext uri="{FF2B5EF4-FFF2-40B4-BE49-F238E27FC236}">
                <a16:creationId xmlns:a16="http://schemas.microsoft.com/office/drawing/2014/main" id="{431FDA5F-5849-92E9-1285-CECA8E08B602}"/>
              </a:ext>
            </a:extLst>
          </p:cNvPr>
          <p:cNvPicPr>
            <a:picLocks noChangeAspect="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8878571" y="5813876"/>
            <a:ext cx="668049" cy="668049"/>
          </a:xfrm>
          <a:prstGeom prst="rect">
            <a:avLst/>
          </a:prstGeom>
        </p:spPr>
      </p:pic>
    </p:spTree>
    <p:extLst>
      <p:ext uri="{BB962C8B-B14F-4D97-AF65-F5344CB8AC3E}">
        <p14:creationId xmlns:p14="http://schemas.microsoft.com/office/powerpoint/2010/main" val="339301342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Diseño personalizad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33C2EF6-FF41-A380-2335-188ECDC1E5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4" name="Imagen 3">
            <a:extLst>
              <a:ext uri="{FF2B5EF4-FFF2-40B4-BE49-F238E27FC236}">
                <a16:creationId xmlns:a16="http://schemas.microsoft.com/office/drawing/2014/main" id="{BC5B5A36-B8D4-FD41-7861-A56827561A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Marcador de fecha 3">
            <a:extLst>
              <a:ext uri="{FF2B5EF4-FFF2-40B4-BE49-F238E27FC236}">
                <a16:creationId xmlns:a16="http://schemas.microsoft.com/office/drawing/2014/main" id="{3CAD54C9-2123-2734-9CC0-019C91BAFEE3}"/>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dirty="0"/>
              <a:t>TÍTULO</a:t>
            </a:r>
          </a:p>
          <a:p>
            <a:r>
              <a:rPr lang="en-US" dirty="0"/>
              <a:t>  PROYEC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Light"/>
                <a:ea typeface="+mn-ea"/>
                <a:cs typeface="+mn-cs"/>
              </a:rPr>
              <a:t>         Descripció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5B9FF"/>
                </a:solidFill>
                <a:effectLst/>
                <a:uLnTx/>
                <a:uFillTx/>
                <a:latin typeface="Poppins Light"/>
                <a:ea typeface="+mn-ea"/>
                <a:cs typeface="+mn-cs"/>
              </a:rPr>
              <a:t>         Friday, March 22, 2024</a:t>
            </a: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a:p>
            <a:endParaRPr lang="en-US" dirty="0"/>
          </a:p>
        </p:txBody>
      </p:sp>
      <p:sp>
        <p:nvSpPr>
          <p:cNvPr id="5" name="Marcador de fecha 3">
            <a:extLst>
              <a:ext uri="{FF2B5EF4-FFF2-40B4-BE49-F238E27FC236}">
                <a16:creationId xmlns:a16="http://schemas.microsoft.com/office/drawing/2014/main" id="{C993F362-141F-3DC5-FE70-A1AFAFCE4570}"/>
              </a:ext>
            </a:extLst>
          </p:cNvPr>
          <p:cNvSpPr txBox="1">
            <a:spLocks/>
          </p:cNvSpPr>
          <p:nvPr/>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a:solidFill>
                <a:schemeClr val="bg1"/>
              </a:solidFill>
              <a:latin typeface="Poppins Medium" pitchFamily="2" charset="77"/>
              <a:cs typeface="Poppins Medium" pitchFamily="2" charset="77"/>
            </a:endParaRPr>
          </a:p>
        </p:txBody>
      </p:sp>
      <p:sp>
        <p:nvSpPr>
          <p:cNvPr id="7" name="Marcador de fecha 3">
            <a:extLst>
              <a:ext uri="{FF2B5EF4-FFF2-40B4-BE49-F238E27FC236}">
                <a16:creationId xmlns:a16="http://schemas.microsoft.com/office/drawing/2014/main" id="{223D8FD0-B430-9821-EA24-1C8798ABC8EF}"/>
              </a:ext>
            </a:extLst>
          </p:cNvPr>
          <p:cNvSpPr txBox="1">
            <a:spLocks/>
          </p:cNvSpPr>
          <p:nvPr/>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a:solidFill>
                <a:srgbClr val="D5B9FF"/>
              </a:solidFill>
            </a:endParaRPr>
          </a:p>
        </p:txBody>
      </p:sp>
      <p:sp>
        <p:nvSpPr>
          <p:cNvPr id="11" name="CuadroTexto 10">
            <a:extLst>
              <a:ext uri="{FF2B5EF4-FFF2-40B4-BE49-F238E27FC236}">
                <a16:creationId xmlns:a16="http://schemas.microsoft.com/office/drawing/2014/main" id="{3A4AE1AF-9021-BD97-5F8B-E70D65FFB320}"/>
              </a:ext>
            </a:extLst>
          </p:cNvPr>
          <p:cNvSpPr txBox="1"/>
          <p:nvPr/>
        </p:nvSpPr>
        <p:spPr>
          <a:xfrm>
            <a:off x="978946" y="4762529"/>
            <a:ext cx="5780049" cy="1985159"/>
          </a:xfrm>
          <a:prstGeom prst="rect">
            <a:avLst/>
          </a:prstGeom>
          <a:noFill/>
        </p:spPr>
        <p:txBody>
          <a:bodyPr wrap="square" rtlCol="0">
            <a:spAutoFit/>
          </a:bodyPr>
          <a:lstStyle/>
          <a:p>
            <a:pPr algn="l"/>
            <a:r>
              <a:rPr lang="es-CO" sz="3200" b="1" i="0" u="none" dirty="0">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dirty="0">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l"/>
            <a:endParaRPr lang="es-CO" dirty="0">
              <a:solidFill>
                <a:schemeClr val="bg1"/>
              </a:solidFill>
            </a:endParaRPr>
          </a:p>
        </p:txBody>
      </p:sp>
      <p:pic>
        <p:nvPicPr>
          <p:cNvPr id="12" name="Imagen 11">
            <a:extLst>
              <a:ext uri="{FF2B5EF4-FFF2-40B4-BE49-F238E27FC236}">
                <a16:creationId xmlns:a16="http://schemas.microsoft.com/office/drawing/2014/main" id="{2FB5D751-FCF5-302E-5629-824D4CB490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305738420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3_Diseño personalizado">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16F18669-364E-595B-29CD-4AECFC7DD2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96" y="9579"/>
            <a:ext cx="12271513" cy="6867939"/>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9696" y="-9579"/>
            <a:ext cx="12316797" cy="6867939"/>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59700" y="-9579"/>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9743" y="1931623"/>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p:nvSpPr>
        <p:spPr>
          <a:xfrm>
            <a:off x="625621" y="8815"/>
            <a:ext cx="2877797" cy="1101572"/>
          </a:xfrm>
          <a:prstGeom prst="rect">
            <a:avLst/>
          </a:prstGeom>
          <a:solidFill>
            <a:schemeClr val="accent1">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0440" y="121543"/>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24" name="Paralelogramo 23">
            <a:extLst>
              <a:ext uri="{FF2B5EF4-FFF2-40B4-BE49-F238E27FC236}">
                <a16:creationId xmlns:a16="http://schemas.microsoft.com/office/drawing/2014/main" id="{6672ABD3-3BFF-4131-8BBA-8B2C758985CB}"/>
              </a:ext>
            </a:extLst>
          </p:cNvPr>
          <p:cNvSpPr/>
          <p:nvPr/>
        </p:nvSpPr>
        <p:spPr>
          <a:xfrm>
            <a:off x="7194014" y="4589418"/>
            <a:ext cx="5582895" cy="1576776"/>
          </a:xfrm>
          <a:prstGeom prst="parallelogram">
            <a:avLst>
              <a:gd name="adj" fmla="val 32214"/>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Marcador de fecha 3">
            <a:extLst>
              <a:ext uri="{FF2B5EF4-FFF2-40B4-BE49-F238E27FC236}">
                <a16:creationId xmlns:a16="http://schemas.microsoft.com/office/drawing/2014/main" id="{65B01963-AA45-E2A3-1922-2B59A8DA7127}"/>
              </a:ext>
            </a:extLst>
          </p:cNvPr>
          <p:cNvSpPr>
            <a:spLocks noGrp="1"/>
          </p:cNvSpPr>
          <p:nvPr>
            <p:ph type="dt" sz="half" idx="10"/>
          </p:nvPr>
        </p:nvSpPr>
        <p:spPr>
          <a:xfrm>
            <a:off x="556807" y="1390989"/>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dirty="0"/>
              <a:t>TÍTULO</a:t>
            </a:r>
          </a:p>
          <a:p>
            <a:r>
              <a:rPr lang="en-US" dirty="0"/>
              <a:t>  PROYEC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Light"/>
                <a:ea typeface="+mn-ea"/>
                <a:cs typeface="+mn-cs"/>
              </a:rPr>
              <a:t>         Descripció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5B9FF"/>
                </a:solidFill>
                <a:effectLst/>
                <a:uLnTx/>
                <a:uFillTx/>
                <a:latin typeface="Poppins Light"/>
                <a:ea typeface="+mn-ea"/>
                <a:cs typeface="+mn-cs"/>
              </a:rPr>
              <a:t>         Friday, March 22, 2024</a:t>
            </a: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4" name="CuadroTexto 3">
            <a:extLst>
              <a:ext uri="{FF2B5EF4-FFF2-40B4-BE49-F238E27FC236}">
                <a16:creationId xmlns:a16="http://schemas.microsoft.com/office/drawing/2014/main" id="{3323BBDD-955B-98E7-81D0-7AA87EC5A9EF}"/>
              </a:ext>
            </a:extLst>
          </p:cNvPr>
          <p:cNvSpPr txBox="1"/>
          <p:nvPr/>
        </p:nvSpPr>
        <p:spPr>
          <a:xfrm>
            <a:off x="6095979" y="4737541"/>
            <a:ext cx="5780049" cy="2323713"/>
          </a:xfrm>
          <a:prstGeom prst="rect">
            <a:avLst/>
          </a:prstGeom>
          <a:noFill/>
        </p:spPr>
        <p:txBody>
          <a:bodyPr wrap="square" rtlCol="0">
            <a:spAutoFit/>
          </a:bodyPr>
          <a:lstStyle/>
          <a:p>
            <a:pPr algn="r"/>
            <a:r>
              <a:rPr lang="es-CO" sz="2800" b="1" i="0" u="none" dirty="0">
                <a:solidFill>
                  <a:schemeClr val="bg1"/>
                </a:solidFill>
                <a:effectLst/>
                <a:latin typeface="+mj-lt"/>
                <a:cs typeface="Poppins Medium" pitchFamily="2" charset="77"/>
                <a:hlinkClick r:id="rId10">
                  <a:extLst>
                    <a:ext uri="{A12FA001-AC4F-418D-AE19-62706E023703}">
                      <ahyp:hlinkClr xmlns:ahyp="http://schemas.microsoft.com/office/drawing/2018/hyperlinkcolor" val="tx"/>
                    </a:ext>
                  </a:extLst>
                </a:hlinkClick>
              </a:rPr>
              <a:t>www.iotaimpact.com</a:t>
            </a:r>
            <a:endParaRPr lang="es-CO" sz="2800" b="1" i="0" u="none" dirty="0">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r"/>
            <a:endParaRPr lang="es-CO" dirty="0">
              <a:solidFill>
                <a:schemeClr val="bg1"/>
              </a:solidFill>
            </a:endParaRPr>
          </a:p>
        </p:txBody>
      </p:sp>
      <p:pic>
        <p:nvPicPr>
          <p:cNvPr id="5" name="Imagen 4">
            <a:extLst>
              <a:ext uri="{FF2B5EF4-FFF2-40B4-BE49-F238E27FC236}">
                <a16:creationId xmlns:a16="http://schemas.microsoft.com/office/drawing/2014/main" id="{13CC9FDB-6E60-3859-54A8-AB0A935D7E0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90695" y="5511903"/>
            <a:ext cx="668049" cy="668049"/>
          </a:xfrm>
          <a:prstGeom prst="rect">
            <a:avLst/>
          </a:prstGeom>
        </p:spPr>
      </p:pic>
    </p:spTree>
    <p:extLst>
      <p:ext uri="{BB962C8B-B14F-4D97-AF65-F5344CB8AC3E}">
        <p14:creationId xmlns:p14="http://schemas.microsoft.com/office/powerpoint/2010/main" val="127106942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Diseño personalizado">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8FFEBE50-1ECD-D234-44EB-880368AFF06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5456"/>
          <a:stretch/>
        </p:blipFill>
        <p:spPr>
          <a:xfrm>
            <a:off x="-40" y="-13720"/>
            <a:ext cx="12192039" cy="6871720"/>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0" y="20709"/>
            <a:ext cx="12316797" cy="6867939"/>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29883" y="0"/>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9743" y="1922044"/>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p:nvSpPr>
        <p:spPr>
          <a:xfrm>
            <a:off x="625621" y="-764"/>
            <a:ext cx="2877797" cy="1101572"/>
          </a:xfrm>
          <a:prstGeom prst="rect">
            <a:avLst/>
          </a:prstGeom>
          <a:solidFill>
            <a:schemeClr val="accent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0440" y="111964"/>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24" name="Paralelogramo 23">
            <a:extLst>
              <a:ext uri="{FF2B5EF4-FFF2-40B4-BE49-F238E27FC236}">
                <a16:creationId xmlns:a16="http://schemas.microsoft.com/office/drawing/2014/main" id="{6672ABD3-3BFF-4131-8BBA-8B2C758985CB}"/>
              </a:ext>
            </a:extLst>
          </p:cNvPr>
          <p:cNvSpPr/>
          <p:nvPr/>
        </p:nvSpPr>
        <p:spPr>
          <a:xfrm>
            <a:off x="7246268" y="4691088"/>
            <a:ext cx="5582895" cy="1601129"/>
          </a:xfrm>
          <a:prstGeom prst="parallelogram">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Marcador de fecha 3">
            <a:extLst>
              <a:ext uri="{FF2B5EF4-FFF2-40B4-BE49-F238E27FC236}">
                <a16:creationId xmlns:a16="http://schemas.microsoft.com/office/drawing/2014/main" id="{3C50A9DB-4C68-F9B8-AB00-0F903AE1951E}"/>
              </a:ext>
            </a:extLst>
          </p:cNvPr>
          <p:cNvSpPr>
            <a:spLocks noGrp="1"/>
          </p:cNvSpPr>
          <p:nvPr>
            <p:ph type="dt" sz="half" idx="10"/>
          </p:nvPr>
        </p:nvSpPr>
        <p:spPr>
          <a:xfrm>
            <a:off x="556807" y="1390989"/>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dirty="0"/>
              <a:t>TÍTULO</a:t>
            </a:r>
          </a:p>
          <a:p>
            <a:r>
              <a:rPr lang="en-US" dirty="0"/>
              <a:t>  PROYECTO</a:t>
            </a:r>
          </a:p>
          <a:p>
            <a:pPr>
              <a:buFontTx/>
              <a:buNone/>
              <a:defRPr/>
            </a:pPr>
            <a:r>
              <a:rPr lang="en-US" sz="1800" dirty="0">
                <a:solidFill>
                  <a:srgbClr val="FFFFFF"/>
                </a:solidFill>
                <a:latin typeface="Poppins Light"/>
                <a:cs typeface="+mn-cs"/>
              </a:rPr>
              <a:t>         Descripción</a:t>
            </a:r>
          </a:p>
          <a:p>
            <a:pPr>
              <a:defRPr/>
            </a:pPr>
            <a:r>
              <a:rPr lang="en-US" sz="1800" dirty="0">
                <a:solidFill>
                  <a:srgbClr val="D5B9FF"/>
                </a:solidFill>
                <a:latin typeface="Poppins Light"/>
                <a:cs typeface="+mn-cs"/>
              </a:rPr>
              <a:t>         Friday, March 22, 2024</a:t>
            </a:r>
            <a:endParaRPr lang="en-US" sz="1800" dirty="0">
              <a:solidFill>
                <a:srgbClr val="FFFFFF"/>
              </a:solidFill>
              <a:latin typeface="Poppins Light"/>
              <a:cs typeface="+mn-cs"/>
            </a:endParaRPr>
          </a:p>
          <a:p>
            <a:pPr>
              <a:buFontTx/>
              <a:buNone/>
              <a:defRPr/>
            </a:pPr>
            <a:endParaRPr lang="en-US" sz="1800" dirty="0">
              <a:solidFill>
                <a:srgbClr val="FFFFFF"/>
              </a:solidFill>
              <a:latin typeface="Poppins Light"/>
              <a:cs typeface="+mn-cs"/>
            </a:endParaRPr>
          </a:p>
          <a:p>
            <a:endParaRPr lang="en-US" dirty="0"/>
          </a:p>
        </p:txBody>
      </p:sp>
      <p:sp>
        <p:nvSpPr>
          <p:cNvPr id="6" name="CuadroTexto 5">
            <a:extLst>
              <a:ext uri="{FF2B5EF4-FFF2-40B4-BE49-F238E27FC236}">
                <a16:creationId xmlns:a16="http://schemas.microsoft.com/office/drawing/2014/main" id="{A2422B57-48FA-42A6-0090-6DFD424DDBE8}"/>
              </a:ext>
            </a:extLst>
          </p:cNvPr>
          <p:cNvSpPr txBox="1"/>
          <p:nvPr/>
        </p:nvSpPr>
        <p:spPr>
          <a:xfrm>
            <a:off x="6095979" y="4806806"/>
            <a:ext cx="5780049" cy="2046714"/>
          </a:xfrm>
          <a:prstGeom prst="rect">
            <a:avLst/>
          </a:prstGeom>
          <a:noFill/>
        </p:spPr>
        <p:txBody>
          <a:bodyPr wrap="square" rtlCol="0">
            <a:spAutoFit/>
          </a:bodyPr>
          <a:lstStyle/>
          <a:p>
            <a:pPr algn="r"/>
            <a:r>
              <a:rPr lang="es-CO" sz="2800" b="1" i="0" u="none" dirty="0">
                <a:solidFill>
                  <a:schemeClr val="bg1"/>
                </a:solidFill>
                <a:effectLst/>
                <a:latin typeface="+mj-lt"/>
                <a:cs typeface="Poppins Medium" pitchFamily="2" charset="77"/>
                <a:hlinkClick r:id="rId10">
                  <a:extLst>
                    <a:ext uri="{A12FA001-AC4F-418D-AE19-62706E023703}">
                      <ahyp:hlinkClr xmlns:ahyp="http://schemas.microsoft.com/office/drawing/2018/hyperlinkcolor" val="tx"/>
                    </a:ext>
                  </a:extLst>
                </a:hlinkClick>
              </a:rPr>
              <a:t>www.iotaimpact.com</a:t>
            </a:r>
            <a:endParaRPr lang="es-CO" sz="2800" b="1" i="0" u="none" dirty="0">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r"/>
            <a:endParaRPr lang="es-CO" dirty="0">
              <a:solidFill>
                <a:schemeClr val="bg1"/>
              </a:solidFill>
            </a:endParaRPr>
          </a:p>
        </p:txBody>
      </p:sp>
      <p:pic>
        <p:nvPicPr>
          <p:cNvPr id="7" name="Imagen 6">
            <a:extLst>
              <a:ext uri="{FF2B5EF4-FFF2-40B4-BE49-F238E27FC236}">
                <a16:creationId xmlns:a16="http://schemas.microsoft.com/office/drawing/2014/main" id="{01C1A841-44D5-D1E6-4A02-44A46E65C66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55233" y="5624169"/>
            <a:ext cx="668049" cy="668049"/>
          </a:xfrm>
          <a:prstGeom prst="rect">
            <a:avLst/>
          </a:prstGeom>
        </p:spPr>
      </p:pic>
    </p:spTree>
    <p:extLst>
      <p:ext uri="{BB962C8B-B14F-4D97-AF65-F5344CB8AC3E}">
        <p14:creationId xmlns:p14="http://schemas.microsoft.com/office/powerpoint/2010/main" val="1701174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5_Diseño personalizado">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95E20F37-B011-169E-28A9-8135B8D365C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921" b="13625"/>
          <a:stretch/>
        </p:blipFill>
        <p:spPr>
          <a:xfrm>
            <a:off x="-7043" y="0"/>
            <a:ext cx="12199043" cy="6867176"/>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65921" y="-9939"/>
            <a:ext cx="12316797" cy="6867939"/>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29883" y="0"/>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9743" y="1922044"/>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p:nvSpPr>
        <p:spPr>
          <a:xfrm>
            <a:off x="625621" y="-764"/>
            <a:ext cx="2877797" cy="1101572"/>
          </a:xfrm>
          <a:prstGeom prst="rect">
            <a:avLst/>
          </a:prstGeom>
          <a:solidFill>
            <a:schemeClr val="accent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0440" y="111964"/>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3" name="Marcador de fecha 3">
            <a:extLst>
              <a:ext uri="{FF2B5EF4-FFF2-40B4-BE49-F238E27FC236}">
                <a16:creationId xmlns:a16="http://schemas.microsoft.com/office/drawing/2014/main" id="{91640266-6EB1-8975-9372-E9CFD8B3D38D}"/>
              </a:ext>
            </a:extLst>
          </p:cNvPr>
          <p:cNvSpPr>
            <a:spLocks noGrp="1"/>
          </p:cNvSpPr>
          <p:nvPr>
            <p:ph type="dt" sz="half" idx="10"/>
          </p:nvPr>
        </p:nvSpPr>
        <p:spPr>
          <a:xfrm>
            <a:off x="635907" y="1390741"/>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dirty="0"/>
              <a:t>TÍTULO</a:t>
            </a:r>
          </a:p>
          <a:p>
            <a:r>
              <a:rPr lang="en-US" dirty="0"/>
              <a:t>  PROYECTO</a:t>
            </a:r>
          </a:p>
          <a:p>
            <a:pPr>
              <a:buFontTx/>
              <a:buNone/>
              <a:defRPr/>
            </a:pPr>
            <a:r>
              <a:rPr lang="en-US" sz="1800" dirty="0">
                <a:solidFill>
                  <a:srgbClr val="FFFFFF"/>
                </a:solidFill>
                <a:latin typeface="Poppins Light"/>
                <a:cs typeface="+mn-cs"/>
              </a:rPr>
              <a:t>         Descripción</a:t>
            </a:r>
          </a:p>
          <a:p>
            <a:pPr>
              <a:defRPr/>
            </a:pPr>
            <a:r>
              <a:rPr lang="en-US" sz="1800" dirty="0">
                <a:solidFill>
                  <a:srgbClr val="D5B9FF"/>
                </a:solidFill>
                <a:latin typeface="Poppins Light"/>
                <a:cs typeface="+mn-cs"/>
              </a:rPr>
              <a:t>         Friday, March 22, 2024</a:t>
            </a:r>
            <a:endParaRPr lang="en-US" sz="1800" dirty="0">
              <a:solidFill>
                <a:srgbClr val="FFFFFF"/>
              </a:solidFill>
              <a:latin typeface="Poppins Light"/>
              <a:cs typeface="+mn-cs"/>
            </a:endParaRPr>
          </a:p>
          <a:p>
            <a:pPr>
              <a:buFontTx/>
              <a:buNone/>
              <a:defRPr/>
            </a:pPr>
            <a:endParaRPr lang="en-US" sz="1800" dirty="0">
              <a:solidFill>
                <a:srgbClr val="FFFFFF"/>
              </a:solidFill>
              <a:latin typeface="Poppins Light"/>
              <a:cs typeface="+mn-cs"/>
            </a:endParaRPr>
          </a:p>
          <a:p>
            <a:endParaRPr lang="en-US" dirty="0"/>
          </a:p>
        </p:txBody>
      </p:sp>
      <p:sp>
        <p:nvSpPr>
          <p:cNvPr id="2" name="Paralelogramo 1">
            <a:extLst>
              <a:ext uri="{FF2B5EF4-FFF2-40B4-BE49-F238E27FC236}">
                <a16:creationId xmlns:a16="http://schemas.microsoft.com/office/drawing/2014/main" id="{4340CEE7-F996-C905-DAD4-6B1C9DC9D67D}"/>
              </a:ext>
            </a:extLst>
          </p:cNvPr>
          <p:cNvSpPr/>
          <p:nvPr/>
        </p:nvSpPr>
        <p:spPr>
          <a:xfrm>
            <a:off x="7246268" y="4691088"/>
            <a:ext cx="5582895" cy="1601129"/>
          </a:xfrm>
          <a:prstGeom prst="parallelogram">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CuadroTexto 3">
            <a:extLst>
              <a:ext uri="{FF2B5EF4-FFF2-40B4-BE49-F238E27FC236}">
                <a16:creationId xmlns:a16="http://schemas.microsoft.com/office/drawing/2014/main" id="{0AA78BED-BA75-13D6-107E-6B7252214291}"/>
              </a:ext>
            </a:extLst>
          </p:cNvPr>
          <p:cNvSpPr txBox="1"/>
          <p:nvPr/>
        </p:nvSpPr>
        <p:spPr>
          <a:xfrm>
            <a:off x="6095979" y="4806806"/>
            <a:ext cx="5780049" cy="2046714"/>
          </a:xfrm>
          <a:prstGeom prst="rect">
            <a:avLst/>
          </a:prstGeom>
          <a:noFill/>
        </p:spPr>
        <p:txBody>
          <a:bodyPr wrap="square" rtlCol="0">
            <a:spAutoFit/>
          </a:bodyPr>
          <a:lstStyle/>
          <a:p>
            <a:pPr algn="r"/>
            <a:r>
              <a:rPr lang="es-CO" sz="2800" b="1" i="0" u="none" dirty="0">
                <a:solidFill>
                  <a:schemeClr val="bg1"/>
                </a:solidFill>
                <a:effectLst/>
                <a:latin typeface="+mj-lt"/>
                <a:cs typeface="Poppins Medium" pitchFamily="2" charset="77"/>
                <a:hlinkClick r:id="rId10">
                  <a:extLst>
                    <a:ext uri="{A12FA001-AC4F-418D-AE19-62706E023703}">
                      <ahyp:hlinkClr xmlns:ahyp="http://schemas.microsoft.com/office/drawing/2018/hyperlinkcolor" val="tx"/>
                    </a:ext>
                  </a:extLst>
                </a:hlinkClick>
              </a:rPr>
              <a:t>www.iotaimpact.com</a:t>
            </a:r>
            <a:endParaRPr lang="es-CO" sz="2800" b="1" i="0" u="none" dirty="0">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r"/>
            <a:endParaRPr lang="es-CO" dirty="0">
              <a:solidFill>
                <a:schemeClr val="bg1"/>
              </a:solidFill>
            </a:endParaRPr>
          </a:p>
        </p:txBody>
      </p:sp>
      <p:pic>
        <p:nvPicPr>
          <p:cNvPr id="5" name="Imagen 4">
            <a:extLst>
              <a:ext uri="{FF2B5EF4-FFF2-40B4-BE49-F238E27FC236}">
                <a16:creationId xmlns:a16="http://schemas.microsoft.com/office/drawing/2014/main" id="{1683B1F4-DEB6-B0D8-BE08-A31DA1A8CE9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55233" y="5624169"/>
            <a:ext cx="668049" cy="668049"/>
          </a:xfrm>
          <a:prstGeom prst="rect">
            <a:avLst/>
          </a:prstGeom>
        </p:spPr>
      </p:pic>
    </p:spTree>
    <p:extLst>
      <p:ext uri="{BB962C8B-B14F-4D97-AF65-F5344CB8AC3E}">
        <p14:creationId xmlns:p14="http://schemas.microsoft.com/office/powerpoint/2010/main" val="17012744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6_Diseño personalizado">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2286FD21-DF25-CDB3-B643-6FCB816C056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5642"/>
          <a:stretch/>
        </p:blipFill>
        <p:spPr>
          <a:xfrm>
            <a:off x="-45334" y="-62523"/>
            <a:ext cx="12237334" cy="7054994"/>
          </a:xfrm>
          <a:prstGeom prst="rect">
            <a:avLst/>
          </a:prstGeom>
        </p:spPr>
      </p:pic>
      <p:pic>
        <p:nvPicPr>
          <p:cNvPr id="10" name="Imagen 9">
            <a:extLst>
              <a:ext uri="{FF2B5EF4-FFF2-40B4-BE49-F238E27FC236}">
                <a16:creationId xmlns:a16="http://schemas.microsoft.com/office/drawing/2014/main" id="{4372239A-819A-8E78-A187-FD734ADDD70B}"/>
              </a:ext>
            </a:extLst>
          </p:cNvPr>
          <p:cNvPicPr>
            <a:picLocks noChangeAspect="1"/>
          </p:cNvPicPr>
          <p:nvPr/>
        </p:nvPicPr>
        <p:blipFill>
          <a:blip r:embed="rId3">
            <a:alphaModFix amt="50000"/>
            <a:extLst>
              <a:ext uri="{BEBA8EAE-BF5A-486C-A8C5-ECC9F3942E4B}">
                <a14:imgProps xmlns:a14="http://schemas.microsoft.com/office/drawing/2010/main">
                  <a14:imgLayer r:embed="rId4">
                    <a14:imgEffect>
                      <a14:colorTemperature colorTemp="53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99121" y="-63726"/>
            <a:ext cx="12316797" cy="7054994"/>
          </a:xfrm>
          <a:prstGeom prst="rect">
            <a:avLst/>
          </a:prstGeom>
        </p:spPr>
      </p:pic>
      <p:pic>
        <p:nvPicPr>
          <p:cNvPr id="15" name="Imagen 14">
            <a:extLst>
              <a:ext uri="{FF2B5EF4-FFF2-40B4-BE49-F238E27FC236}">
                <a16:creationId xmlns:a16="http://schemas.microsoft.com/office/drawing/2014/main" id="{2654588C-BBD4-8D34-672A-5809EA22FE48}"/>
              </a:ext>
            </a:extLst>
          </p:cNvPr>
          <p:cNvPicPr>
            <a:picLocks noChangeAspect="1"/>
          </p:cNvPicPr>
          <p:nvPr/>
        </p:nvPicPr>
        <p:blipFill>
          <a:blip r:embed="rId5">
            <a:alphaModFix amt="50000"/>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tretch>
            <a:fillRect/>
          </a:stretch>
        </p:blipFill>
        <p:spPr>
          <a:xfrm>
            <a:off x="2529883" y="0"/>
            <a:ext cx="9662117" cy="5434941"/>
          </a:xfrm>
          <a:prstGeom prst="rect">
            <a:avLst/>
          </a:prstGeom>
        </p:spPr>
      </p:pic>
      <p:pic>
        <p:nvPicPr>
          <p:cNvPr id="21" name="Imagen 20">
            <a:extLst>
              <a:ext uri="{FF2B5EF4-FFF2-40B4-BE49-F238E27FC236}">
                <a16:creationId xmlns:a16="http://schemas.microsoft.com/office/drawing/2014/main" id="{BAD6B0CD-DA4B-EE32-E77C-5A3CF34E4C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9743" y="1922044"/>
            <a:ext cx="1396753" cy="1634661"/>
          </a:xfrm>
          <a:prstGeom prst="rect">
            <a:avLst/>
          </a:prstGeom>
        </p:spPr>
      </p:pic>
      <p:sp>
        <p:nvSpPr>
          <p:cNvPr id="22" name="Rectángulo 21">
            <a:extLst>
              <a:ext uri="{FF2B5EF4-FFF2-40B4-BE49-F238E27FC236}">
                <a16:creationId xmlns:a16="http://schemas.microsoft.com/office/drawing/2014/main" id="{63D4B87B-DC03-979E-3A55-5288636C5ECE}"/>
              </a:ext>
            </a:extLst>
          </p:cNvPr>
          <p:cNvSpPr/>
          <p:nvPr/>
        </p:nvSpPr>
        <p:spPr>
          <a:xfrm>
            <a:off x="625621" y="-61723"/>
            <a:ext cx="2877797" cy="1101572"/>
          </a:xfrm>
          <a:prstGeom prst="rect">
            <a:avLst/>
          </a:prstGeom>
          <a:solidFill>
            <a:schemeClr val="accent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3" name="Imagen 12">
            <a:extLst>
              <a:ext uri="{FF2B5EF4-FFF2-40B4-BE49-F238E27FC236}">
                <a16:creationId xmlns:a16="http://schemas.microsoft.com/office/drawing/2014/main" id="{3F9768FE-0BAD-EF43-790A-6D7175C7D4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0440" y="111964"/>
            <a:ext cx="2788158" cy="912281"/>
          </a:xfrm>
          <a:prstGeom prst="rect">
            <a:avLst/>
          </a:prstGeom>
        </p:spPr>
      </p:pic>
      <p:pic>
        <p:nvPicPr>
          <p:cNvPr id="26" name="Imagen 25">
            <a:extLst>
              <a:ext uri="{FF2B5EF4-FFF2-40B4-BE49-F238E27FC236}">
                <a16:creationId xmlns:a16="http://schemas.microsoft.com/office/drawing/2014/main" id="{39E04C76-07EC-D56A-8FBA-6BECF38A78D1}"/>
              </a:ext>
            </a:extLst>
          </p:cNvPr>
          <p:cNvPicPr>
            <a:picLocks noChangeAspect="1"/>
          </p:cNvPicPr>
          <p:nvPr/>
        </p:nvPicPr>
        <p:blipFill>
          <a:blip r:embed="rId9">
            <a:lum bright="70000" contrast="-70000"/>
            <a:alphaModFix amt="20000"/>
            <a:extLst>
              <a:ext uri="{28A0092B-C50C-407E-A947-70E740481C1C}">
                <a14:useLocalDpi xmlns:a14="http://schemas.microsoft.com/office/drawing/2010/main" val="0"/>
              </a:ext>
            </a:extLst>
          </a:blip>
          <a:stretch>
            <a:fillRect/>
          </a:stretch>
        </p:blipFill>
        <p:spPr>
          <a:xfrm>
            <a:off x="4589202" y="750411"/>
            <a:ext cx="5305725" cy="6858000"/>
          </a:xfrm>
          <a:prstGeom prst="rect">
            <a:avLst/>
          </a:prstGeom>
        </p:spPr>
      </p:pic>
      <p:sp>
        <p:nvSpPr>
          <p:cNvPr id="3" name="Marcador de fecha 3">
            <a:extLst>
              <a:ext uri="{FF2B5EF4-FFF2-40B4-BE49-F238E27FC236}">
                <a16:creationId xmlns:a16="http://schemas.microsoft.com/office/drawing/2014/main" id="{D6CF6E04-258C-D271-0BE2-40A8CE11DE94}"/>
              </a:ext>
            </a:extLst>
          </p:cNvPr>
          <p:cNvSpPr>
            <a:spLocks noGrp="1"/>
          </p:cNvSpPr>
          <p:nvPr>
            <p:ph type="dt" sz="half" idx="10"/>
          </p:nvPr>
        </p:nvSpPr>
        <p:spPr>
          <a:xfrm>
            <a:off x="635907" y="1390741"/>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dirty="0"/>
              <a:t>TÍTULO</a:t>
            </a:r>
          </a:p>
          <a:p>
            <a:r>
              <a:rPr lang="en-US" dirty="0"/>
              <a:t>  PROYECTO</a:t>
            </a:r>
          </a:p>
          <a:p>
            <a:pPr>
              <a:buFontTx/>
              <a:buNone/>
              <a:defRPr/>
            </a:pPr>
            <a:r>
              <a:rPr lang="en-US" sz="1800" dirty="0">
                <a:solidFill>
                  <a:srgbClr val="FFFFFF"/>
                </a:solidFill>
                <a:latin typeface="Poppins Light"/>
                <a:cs typeface="+mn-cs"/>
              </a:rPr>
              <a:t>         Descripción</a:t>
            </a:r>
          </a:p>
          <a:p>
            <a:pPr>
              <a:defRPr/>
            </a:pPr>
            <a:r>
              <a:rPr lang="en-US" sz="1800" dirty="0">
                <a:solidFill>
                  <a:srgbClr val="D5B9FF"/>
                </a:solidFill>
                <a:latin typeface="Poppins Light"/>
                <a:cs typeface="+mn-cs"/>
              </a:rPr>
              <a:t>         Friday, March 22, 2024</a:t>
            </a:r>
            <a:endParaRPr lang="en-US" sz="1800" dirty="0">
              <a:solidFill>
                <a:srgbClr val="FFFFFF"/>
              </a:solidFill>
              <a:latin typeface="Poppins Light"/>
              <a:cs typeface="+mn-cs"/>
            </a:endParaRPr>
          </a:p>
          <a:p>
            <a:pPr>
              <a:buFontTx/>
              <a:buNone/>
              <a:defRPr/>
            </a:pPr>
            <a:endParaRPr lang="en-US" sz="1800" dirty="0">
              <a:solidFill>
                <a:srgbClr val="FFFFFF"/>
              </a:solidFill>
              <a:latin typeface="Poppins Light"/>
              <a:cs typeface="+mn-cs"/>
            </a:endParaRPr>
          </a:p>
          <a:p>
            <a:endParaRPr lang="en-US" dirty="0"/>
          </a:p>
        </p:txBody>
      </p:sp>
      <p:sp>
        <p:nvSpPr>
          <p:cNvPr id="2" name="Paralelogramo 1">
            <a:extLst>
              <a:ext uri="{FF2B5EF4-FFF2-40B4-BE49-F238E27FC236}">
                <a16:creationId xmlns:a16="http://schemas.microsoft.com/office/drawing/2014/main" id="{065502ED-FB98-CBE5-4021-F2A425805D42}"/>
              </a:ext>
            </a:extLst>
          </p:cNvPr>
          <p:cNvSpPr/>
          <p:nvPr/>
        </p:nvSpPr>
        <p:spPr>
          <a:xfrm>
            <a:off x="7246268" y="4691088"/>
            <a:ext cx="5582895" cy="1601129"/>
          </a:xfrm>
          <a:prstGeom prst="parallelogram">
            <a:avLst/>
          </a:prstGeom>
          <a:solidFill>
            <a:schemeClr val="accent1">
              <a:alpha val="577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CuadroTexto 3">
            <a:extLst>
              <a:ext uri="{FF2B5EF4-FFF2-40B4-BE49-F238E27FC236}">
                <a16:creationId xmlns:a16="http://schemas.microsoft.com/office/drawing/2014/main" id="{889B35FC-2C54-1DD1-CF04-4E658921A2CB}"/>
              </a:ext>
            </a:extLst>
          </p:cNvPr>
          <p:cNvSpPr txBox="1"/>
          <p:nvPr/>
        </p:nvSpPr>
        <p:spPr>
          <a:xfrm>
            <a:off x="6095979" y="4806806"/>
            <a:ext cx="5780049" cy="2046714"/>
          </a:xfrm>
          <a:prstGeom prst="rect">
            <a:avLst/>
          </a:prstGeom>
          <a:noFill/>
        </p:spPr>
        <p:txBody>
          <a:bodyPr wrap="square" rtlCol="0">
            <a:spAutoFit/>
          </a:bodyPr>
          <a:lstStyle/>
          <a:p>
            <a:pPr algn="r"/>
            <a:r>
              <a:rPr lang="es-CO" sz="2800" b="1" i="0" u="none" dirty="0">
                <a:solidFill>
                  <a:schemeClr val="bg1"/>
                </a:solidFill>
                <a:effectLst/>
                <a:latin typeface="+mj-lt"/>
                <a:cs typeface="Poppins Medium" pitchFamily="2" charset="77"/>
                <a:hlinkClick r:id="rId10">
                  <a:extLst>
                    <a:ext uri="{A12FA001-AC4F-418D-AE19-62706E023703}">
                      <ahyp:hlinkClr xmlns:ahyp="http://schemas.microsoft.com/office/drawing/2018/hyperlinkcolor" val="tx"/>
                    </a:ext>
                  </a:extLst>
                </a:hlinkClick>
              </a:rPr>
              <a:t>www.iotaimpact.com</a:t>
            </a:r>
            <a:endParaRPr lang="es-CO" sz="2800" b="1" i="0" u="none" dirty="0">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800" dirty="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r"/>
            <a:endParaRPr lang="es-CO" dirty="0">
              <a:solidFill>
                <a:schemeClr val="bg1"/>
              </a:solidFill>
            </a:endParaRPr>
          </a:p>
        </p:txBody>
      </p:sp>
      <p:pic>
        <p:nvPicPr>
          <p:cNvPr id="7" name="Imagen 6">
            <a:extLst>
              <a:ext uri="{FF2B5EF4-FFF2-40B4-BE49-F238E27FC236}">
                <a16:creationId xmlns:a16="http://schemas.microsoft.com/office/drawing/2014/main" id="{4FA1DDE9-AFE0-0A37-B82C-3E1EC54D6F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55233" y="5624169"/>
            <a:ext cx="668049" cy="668049"/>
          </a:xfrm>
          <a:prstGeom prst="rect">
            <a:avLst/>
          </a:prstGeom>
        </p:spPr>
      </p:pic>
    </p:spTree>
    <p:extLst>
      <p:ext uri="{BB962C8B-B14F-4D97-AF65-F5344CB8AC3E}">
        <p14:creationId xmlns:p14="http://schemas.microsoft.com/office/powerpoint/2010/main" val="240385761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8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914C299A-9E1B-FF37-36CE-C9AD9EC5CA5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05" r="1" b="285"/>
          <a:stretch/>
        </p:blipFill>
        <p:spPr>
          <a:xfrm>
            <a:off x="0" y="9579"/>
            <a:ext cx="12221817" cy="6848421"/>
          </a:xfrm>
          <a:prstGeom prst="rect">
            <a:avLst/>
          </a:prstGeom>
        </p:spPr>
      </p:pic>
      <p:pic>
        <p:nvPicPr>
          <p:cNvPr id="8" name="Imagen 7">
            <a:extLst>
              <a:ext uri="{FF2B5EF4-FFF2-40B4-BE49-F238E27FC236}">
                <a16:creationId xmlns:a16="http://schemas.microsoft.com/office/drawing/2014/main" id="{EC827735-7F00-B503-AB81-8F1710622DB8}"/>
              </a:ext>
            </a:extLst>
          </p:cNvPr>
          <p:cNvPicPr>
            <a:picLocks noChangeAspect="1"/>
          </p:cNvPicPr>
          <p:nvPr/>
        </p:nvPicPr>
        <p:blipFill>
          <a:blip r:embed="rId4">
            <a:alphaModFix amt="50000"/>
            <a:extLst>
              <a:ext uri="{28A0092B-C50C-407E-A947-70E740481C1C}">
                <a14:useLocalDpi xmlns:a14="http://schemas.microsoft.com/office/drawing/2010/main" val="0"/>
              </a:ext>
            </a:extLst>
          </a:blip>
          <a:stretch>
            <a:fillRect/>
          </a:stretch>
        </p:blipFill>
        <p:spPr>
          <a:xfrm>
            <a:off x="-38101" y="-44726"/>
            <a:ext cx="12271513" cy="6902726"/>
          </a:xfrm>
          <a:prstGeom prst="rect">
            <a:avLst/>
          </a:prstGeom>
        </p:spPr>
      </p:pic>
      <p:sp>
        <p:nvSpPr>
          <p:cNvPr id="10" name="Paralelogramo 9">
            <a:extLst>
              <a:ext uri="{FF2B5EF4-FFF2-40B4-BE49-F238E27FC236}">
                <a16:creationId xmlns:a16="http://schemas.microsoft.com/office/drawing/2014/main" id="{D1AB02FE-A812-439E-956E-6132F97BE4B9}"/>
              </a:ext>
            </a:extLst>
          </p:cNvPr>
          <p:cNvSpPr/>
          <p:nvPr userDrawn="1"/>
        </p:nvSpPr>
        <p:spPr>
          <a:xfrm>
            <a:off x="6984190" y="4592137"/>
            <a:ext cx="7708900" cy="1834029"/>
          </a:xfrm>
          <a:prstGeom prst="parallelogram">
            <a:avLst>
              <a:gd name="adj" fmla="val 31925"/>
            </a:avLst>
          </a:prstGeom>
          <a:solidFill>
            <a:srgbClr val="482C9B">
              <a:alpha val="6352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Imagen 1">
            <a:extLst>
              <a:ext uri="{FF2B5EF4-FFF2-40B4-BE49-F238E27FC236}">
                <a16:creationId xmlns:a16="http://schemas.microsoft.com/office/drawing/2014/main" id="{66CBDFF5-B742-7C26-43F0-E23B8768C3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0380" y="439955"/>
            <a:ext cx="2788158" cy="912281"/>
          </a:xfrm>
          <a:prstGeom prst="rect">
            <a:avLst/>
          </a:prstGeom>
        </p:spPr>
      </p:pic>
      <p:sp>
        <p:nvSpPr>
          <p:cNvPr id="3" name="CuadroTexto 2">
            <a:extLst>
              <a:ext uri="{FF2B5EF4-FFF2-40B4-BE49-F238E27FC236}">
                <a16:creationId xmlns:a16="http://schemas.microsoft.com/office/drawing/2014/main" id="{4EC85468-6DD4-AB84-8BE4-2C23EFB7F5E6}"/>
              </a:ext>
            </a:extLst>
          </p:cNvPr>
          <p:cNvSpPr txBox="1"/>
          <p:nvPr/>
        </p:nvSpPr>
        <p:spPr>
          <a:xfrm>
            <a:off x="785191" y="1503432"/>
            <a:ext cx="5764696" cy="1477328"/>
          </a:xfrm>
          <a:prstGeom prst="rect">
            <a:avLst/>
          </a:prstGeom>
          <a:noFill/>
        </p:spPr>
        <p:txBody>
          <a:bodyPr wrap="square" rtlCol="0">
            <a:spAutoFit/>
          </a:bodyPr>
          <a:lstStyle/>
          <a:p>
            <a:pPr algn="l"/>
            <a:r>
              <a:rPr lang="en-ID" sz="3600" b="1" i="0" spc="0" noProof="0">
                <a:solidFill>
                  <a:srgbClr val="9583FF"/>
                </a:solidFill>
                <a:latin typeface="Poppins" pitchFamily="2" charset="77"/>
                <a:cs typeface="Poppins" pitchFamily="2" charset="77"/>
              </a:rPr>
              <a:t>Let’s future proof your business</a:t>
            </a:r>
            <a:endParaRPr lang="en-ID" sz="3600" b="1" i="0" spc="0" noProof="0">
              <a:solidFill>
                <a:srgbClr val="FFFFFF"/>
              </a:solidFill>
              <a:effectLst/>
              <a:highlight>
                <a:srgbClr val="212121"/>
              </a:highlight>
              <a:latin typeface="Poppins" pitchFamily="2" charset="77"/>
              <a:cs typeface="Poppins" pitchFamily="2" charset="77"/>
            </a:endParaRPr>
          </a:p>
          <a:p>
            <a:endParaRPr lang="es-CO"/>
          </a:p>
        </p:txBody>
      </p:sp>
      <p:sp>
        <p:nvSpPr>
          <p:cNvPr id="4" name="Marcador de fecha 3">
            <a:extLst>
              <a:ext uri="{FF2B5EF4-FFF2-40B4-BE49-F238E27FC236}">
                <a16:creationId xmlns:a16="http://schemas.microsoft.com/office/drawing/2014/main" id="{368839BF-B971-796D-8913-D6A1D19A7239}"/>
              </a:ext>
            </a:extLst>
          </p:cNvPr>
          <p:cNvSpPr txBox="1">
            <a:spLocks/>
          </p:cNvSpPr>
          <p:nvPr/>
        </p:nvSpPr>
        <p:spPr>
          <a:xfrm>
            <a:off x="785191" y="2865222"/>
            <a:ext cx="6378685"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n-US" sz="1800" b="0" i="0" u="none" strike="noStrike">
                <a:solidFill>
                  <a:srgbClr val="FFFFFF"/>
                </a:solidFill>
                <a:effectLst/>
                <a:latin typeface="Poppins" pitchFamily="2" charset="77"/>
              </a:rPr>
              <a:t>RESEARCH SOLUTIONS</a:t>
            </a:r>
          </a:p>
          <a:p>
            <a:pPr algn="l" rtl="0" fontAlgn="base"/>
            <a:r>
              <a:rPr lang="en-US" sz="1800" b="0" i="0" u="none" strike="noStrike">
                <a:solidFill>
                  <a:srgbClr val="FFFFFF"/>
                </a:solidFill>
                <a:effectLst/>
                <a:latin typeface="Poppins" pitchFamily="2" charset="77"/>
              </a:rPr>
              <a:t>AND CUTTING-EDGE CONSULTING.</a:t>
            </a:r>
          </a:p>
        </p:txBody>
      </p:sp>
      <p:pic>
        <p:nvPicPr>
          <p:cNvPr id="7" name="Imagen 6">
            <a:extLst>
              <a:ext uri="{FF2B5EF4-FFF2-40B4-BE49-F238E27FC236}">
                <a16:creationId xmlns:a16="http://schemas.microsoft.com/office/drawing/2014/main" id="{8FA9289E-F056-6919-664D-D591E0A9E5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93084" y="5472733"/>
            <a:ext cx="668049" cy="668049"/>
          </a:xfrm>
          <a:prstGeom prst="rect">
            <a:avLst/>
          </a:prstGeom>
        </p:spPr>
      </p:pic>
      <p:sp>
        <p:nvSpPr>
          <p:cNvPr id="6" name="CuadroTexto 5">
            <a:extLst>
              <a:ext uri="{FF2B5EF4-FFF2-40B4-BE49-F238E27FC236}">
                <a16:creationId xmlns:a16="http://schemas.microsoft.com/office/drawing/2014/main" id="{E18CE8A9-BC06-45F4-5DCE-B48006A70245}"/>
              </a:ext>
            </a:extLst>
          </p:cNvPr>
          <p:cNvSpPr txBox="1"/>
          <p:nvPr userDrawn="1"/>
        </p:nvSpPr>
        <p:spPr>
          <a:xfrm>
            <a:off x="6096000" y="4706444"/>
            <a:ext cx="5780049" cy="1985159"/>
          </a:xfrm>
          <a:prstGeom prst="rect">
            <a:avLst/>
          </a:prstGeom>
          <a:noFill/>
        </p:spPr>
        <p:txBody>
          <a:bodyPr wrap="square" rtlCol="0">
            <a:spAutoFit/>
          </a:bodyPr>
          <a:lstStyle/>
          <a:p>
            <a:pPr algn="r"/>
            <a:r>
              <a:rPr lang="es-CO" sz="3200" b="1" i="0" u="none" dirty="0">
                <a:solidFill>
                  <a:schemeClr val="bg1"/>
                </a:solidFill>
                <a:effectLst/>
                <a:latin typeface="+mj-lt"/>
                <a:cs typeface="Poppins Medium" pitchFamily="2" charset="77"/>
                <a:hlinkClick r:id="rId7">
                  <a:extLst>
                    <a:ext uri="{A12FA001-AC4F-418D-AE19-62706E023703}">
                      <ahyp:hlinkClr xmlns:ahyp="http://schemas.microsoft.com/office/drawing/2018/hyperlinkcolor" val="tx"/>
                    </a:ext>
                  </a:extLst>
                </a:hlinkClick>
              </a:rPr>
              <a:t>www.iotaimpact.com</a:t>
            </a:r>
            <a:endParaRPr lang="es-CO" sz="3200" b="1" i="0" u="none" dirty="0">
              <a:solidFill>
                <a:schemeClr val="bg1"/>
              </a:solidFill>
              <a:effectLst/>
              <a:latin typeface="+mj-lt"/>
              <a:cs typeface="Poppins Medium" pitchFamily="2" charset="77"/>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rPr>
              <a:t>andres@iotaimpact.com </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us</a:t>
            </a:r>
          </a:p>
          <a:p>
            <a:pPr marL="0" marR="0" lvl="0" indent="0" algn="r"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latam</a:t>
            </a:r>
          </a:p>
          <a:p>
            <a:pPr marL="0" marR="0" lvl="0" indent="0" algn="r"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r"/>
            <a:endParaRPr lang="es-CO" dirty="0">
              <a:solidFill>
                <a:schemeClr val="bg1"/>
              </a:solidFill>
            </a:endParaRPr>
          </a:p>
        </p:txBody>
      </p:sp>
    </p:spTree>
    <p:extLst>
      <p:ext uri="{BB962C8B-B14F-4D97-AF65-F5344CB8AC3E}">
        <p14:creationId xmlns:p14="http://schemas.microsoft.com/office/powerpoint/2010/main" val="385287202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A80612AF-EEE3-4F43-89C6-693985F10456}" type="datetime2">
              <a:rPr lang="es-CO" smtClean="0"/>
              <a:t>miércoles, 10 de julio de 2024</a:t>
            </a:fld>
            <a:endParaRPr lang="es-CO"/>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a:p>
        </p:txBody>
      </p:sp>
      <p:sp>
        <p:nvSpPr>
          <p:cNvPr id="13" name="CuadroTexto 12">
            <a:extLst>
              <a:ext uri="{FF2B5EF4-FFF2-40B4-BE49-F238E27FC236}">
                <a16:creationId xmlns:a16="http://schemas.microsoft.com/office/drawing/2014/main" id="{09E077C5-EFCB-2F20-834B-399140A4B15D}"/>
              </a:ext>
            </a:extLst>
          </p:cNvPr>
          <p:cNvSpPr txBox="1"/>
          <p:nvPr/>
        </p:nvSpPr>
        <p:spPr>
          <a:xfrm>
            <a:off x="152421" y="6358830"/>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pic>
        <p:nvPicPr>
          <p:cNvPr id="15" name="Imagen 14" descr="Icono&#10;&#10;Descripción generada automáticamente con confianza media">
            <a:extLst>
              <a:ext uri="{FF2B5EF4-FFF2-40B4-BE49-F238E27FC236}">
                <a16:creationId xmlns:a16="http://schemas.microsoft.com/office/drawing/2014/main" id="{9502E73A-780D-EEEA-A933-92ACF49567E8}"/>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rot="16200000">
            <a:off x="102885" y="5891327"/>
            <a:ext cx="575295" cy="134562"/>
          </a:xfrm>
          <a:prstGeom prst="rect">
            <a:avLst/>
          </a:prstGeom>
        </p:spPr>
      </p:pic>
      <p:sp>
        <p:nvSpPr>
          <p:cNvPr id="2" name="Picture Placeholder 3">
            <a:extLst>
              <a:ext uri="{FF2B5EF4-FFF2-40B4-BE49-F238E27FC236}">
                <a16:creationId xmlns:a16="http://schemas.microsoft.com/office/drawing/2014/main" id="{A55F2657-94D4-1A94-8F39-5699AC6AC56D}"/>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dirty="0"/>
              <a:t>Insert Logo here</a:t>
            </a:r>
          </a:p>
        </p:txBody>
      </p:sp>
    </p:spTree>
    <p:extLst>
      <p:ext uri="{BB962C8B-B14F-4D97-AF65-F5344CB8AC3E}">
        <p14:creationId xmlns:p14="http://schemas.microsoft.com/office/powerpoint/2010/main" val="391247843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5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E798F8F2-79A2-F52B-D6FC-7550EAF87BC4}"/>
              </a:ext>
            </a:extLst>
          </p:cNvPr>
          <p:cNvSpPr/>
          <p:nvPr/>
        </p:nvSpPr>
        <p:spPr>
          <a:xfrm>
            <a:off x="0" y="-1"/>
            <a:ext cx="12192000" cy="6858001"/>
          </a:xfrm>
          <a:prstGeom prst="rect">
            <a:avLst/>
          </a:prstGeom>
          <a:solidFill>
            <a:srgbClr val="6200EE">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1516EB89-A58A-4715-B73A-3172BF45D2FD}" type="datetime2">
              <a:rPr lang="es-CO" smtClean="0"/>
              <a:t>miércoles, 10 de julio de 2024</a:t>
            </a:fld>
            <a:endParaRPr lang="es-CO"/>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a:p>
        </p:txBody>
      </p:sp>
      <p:sp>
        <p:nvSpPr>
          <p:cNvPr id="13" name="CuadroTexto 12">
            <a:extLst>
              <a:ext uri="{FF2B5EF4-FFF2-40B4-BE49-F238E27FC236}">
                <a16:creationId xmlns:a16="http://schemas.microsoft.com/office/drawing/2014/main" id="{09E077C5-EFCB-2F20-834B-399140A4B15D}"/>
              </a:ext>
            </a:extLst>
          </p:cNvPr>
          <p:cNvSpPr txBox="1"/>
          <p:nvPr/>
        </p:nvSpPr>
        <p:spPr>
          <a:xfrm>
            <a:off x="152421" y="6358830"/>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pic>
        <p:nvPicPr>
          <p:cNvPr id="15" name="Imagen 14" descr="Icono&#10;&#10;Descripción generada automáticamente con confianza media">
            <a:extLst>
              <a:ext uri="{FF2B5EF4-FFF2-40B4-BE49-F238E27FC236}">
                <a16:creationId xmlns:a16="http://schemas.microsoft.com/office/drawing/2014/main" id="{9502E73A-780D-EEEA-A933-92ACF49567E8}"/>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rot="16200000">
            <a:off x="102885" y="5891327"/>
            <a:ext cx="575295" cy="134562"/>
          </a:xfrm>
          <a:prstGeom prst="rect">
            <a:avLst/>
          </a:prstGeom>
        </p:spPr>
      </p:pic>
      <p:sp>
        <p:nvSpPr>
          <p:cNvPr id="3" name="Picture Placeholder 3">
            <a:extLst>
              <a:ext uri="{FF2B5EF4-FFF2-40B4-BE49-F238E27FC236}">
                <a16:creationId xmlns:a16="http://schemas.microsoft.com/office/drawing/2014/main" id="{D77CAB1A-FA32-B7AE-2446-F1F80B6D6521}"/>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dirty="0"/>
              <a:t>Insert Logo here</a:t>
            </a:r>
          </a:p>
        </p:txBody>
      </p:sp>
    </p:spTree>
    <p:extLst>
      <p:ext uri="{BB962C8B-B14F-4D97-AF65-F5344CB8AC3E}">
        <p14:creationId xmlns:p14="http://schemas.microsoft.com/office/powerpoint/2010/main" val="3428488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590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1403011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308233-816C-ABC6-90A4-24FB752CEEDB}"/>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85A65000-EFF4-28D2-F372-58C5FF21D85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6000A588-5A13-EFB2-11F7-324C3D0DE658}"/>
              </a:ext>
            </a:extLst>
          </p:cNvPr>
          <p:cNvSpPr>
            <a:spLocks noGrp="1"/>
          </p:cNvSpPr>
          <p:nvPr>
            <p:ph type="dt" sz="half" idx="10"/>
          </p:nvPr>
        </p:nvSpPr>
        <p:spPr/>
        <p:txBody>
          <a:bodyPr/>
          <a:lstStyle/>
          <a:p>
            <a:fld id="{7B4E7358-08B8-44DE-91A5-7BD8D4AFE99C}" type="datetime1">
              <a:rPr lang="es-ES_tradnl" smtClean="0"/>
              <a:t>10/07/2024</a:t>
            </a:fld>
            <a:endParaRPr lang="es-CO"/>
          </a:p>
        </p:txBody>
      </p:sp>
      <p:sp>
        <p:nvSpPr>
          <p:cNvPr id="5" name="Marcador de pie de página 4">
            <a:extLst>
              <a:ext uri="{FF2B5EF4-FFF2-40B4-BE49-F238E27FC236}">
                <a16:creationId xmlns:a16="http://schemas.microsoft.com/office/drawing/2014/main" id="{428D4C8F-3618-DDE3-4DC5-EAA8779330BB}"/>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9BD06E6F-0317-CE45-75B6-975C4AED7DBB}"/>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8823975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17435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dirty="0"/>
          </a:p>
        </p:txBody>
      </p:sp>
    </p:spTree>
    <p:extLst>
      <p:ext uri="{BB962C8B-B14F-4D97-AF65-F5344CB8AC3E}">
        <p14:creationId xmlns:p14="http://schemas.microsoft.com/office/powerpoint/2010/main" val="1569727673"/>
      </p:ext>
    </p:extLst>
  </p:cSld>
  <p:clrMapOvr>
    <a:masterClrMapping/>
  </p:clrMapOvr>
  <p:transition spd="slow" advTm="2000">
    <p:cover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903770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3526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42365683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4862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0914890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6117494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fld id="{28EBB91C-89D9-4397-845E-61211BCC5FFB}" type="datetime1">
              <a:rPr lang="es-ES_tradnl" smtClean="0"/>
              <a:t>10/07/2024</a:t>
            </a:fld>
            <a:endParaRPr lang="en-US" dirty="0"/>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dirty="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dirty="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dirty="0">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dirty="0">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l"/>
            <a:endParaRPr lang="es-CO" dirty="0">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9710612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6BF1F5C6-C092-4853-849D-AD9C9FADB305}" type="datetime1">
              <a:rPr lang="es-ES_tradnl" smtClean="0"/>
              <a:t>10/07/2024</a:t>
            </a:fld>
            <a:endParaRPr lang="es-CO" dirty="0"/>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dirty="0"/>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dirty="0"/>
          </a:p>
        </p:txBody>
      </p:sp>
    </p:spTree>
    <p:extLst>
      <p:ext uri="{BB962C8B-B14F-4D97-AF65-F5344CB8AC3E}">
        <p14:creationId xmlns:p14="http://schemas.microsoft.com/office/powerpoint/2010/main" val="659815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B968569-5162-8A99-23E5-061670B28BB7}"/>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B0F0DE19-D161-1416-5035-466E2C6D61D0}"/>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D1AC2A5F-1FCB-9F1E-2102-9D02A2B30FF5}"/>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0CECB6FD-65FC-4A9D-A907-99AB84FD6013}"/>
              </a:ext>
            </a:extLst>
          </p:cNvPr>
          <p:cNvSpPr>
            <a:spLocks noGrp="1"/>
          </p:cNvSpPr>
          <p:nvPr>
            <p:ph type="dt" sz="half" idx="10"/>
          </p:nvPr>
        </p:nvSpPr>
        <p:spPr/>
        <p:txBody>
          <a:bodyPr/>
          <a:lstStyle/>
          <a:p>
            <a:fld id="{3B712D4C-B794-4583-90EA-FDC473F8C137}" type="datetime1">
              <a:rPr lang="es-ES_tradnl" smtClean="0"/>
              <a:t>10/07/2024</a:t>
            </a:fld>
            <a:endParaRPr lang="es-CO"/>
          </a:p>
        </p:txBody>
      </p:sp>
      <p:sp>
        <p:nvSpPr>
          <p:cNvPr id="6" name="Marcador de pie de página 5">
            <a:extLst>
              <a:ext uri="{FF2B5EF4-FFF2-40B4-BE49-F238E27FC236}">
                <a16:creationId xmlns:a16="http://schemas.microsoft.com/office/drawing/2014/main" id="{2F292DD4-3C6D-6D7E-3822-CDC3906933D4}"/>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9872BAE4-A1F9-E0DE-6A6F-1F8C131C6391}"/>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11862530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21296673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C5161F0B-E67D-49A0-A5CB-BDCFAEEDB836}" type="datetime1">
              <a:rPr lang="es-ES_tradnl" smtClean="0"/>
              <a:t>10/07/2024</a:t>
            </a:fld>
            <a:endParaRPr lang="es-CO" dirty="0"/>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dirty="0"/>
          </a:p>
        </p:txBody>
      </p:sp>
      <p:sp>
        <p:nvSpPr>
          <p:cNvPr id="2" name="Picture Placeholder 3">
            <a:extLst>
              <a:ext uri="{FF2B5EF4-FFF2-40B4-BE49-F238E27FC236}">
                <a16:creationId xmlns:a16="http://schemas.microsoft.com/office/drawing/2014/main" id="{A55F2657-94D4-1A94-8F39-5699AC6AC56D}"/>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dirty="0"/>
              <a:t>Insert Logo here</a:t>
            </a:r>
          </a:p>
        </p:txBody>
      </p:sp>
    </p:spTree>
    <p:extLst>
      <p:ext uri="{BB962C8B-B14F-4D97-AF65-F5344CB8AC3E}">
        <p14:creationId xmlns:p14="http://schemas.microsoft.com/office/powerpoint/2010/main" val="37840462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ABB12109-C502-3045-4D00-0FE9BC202BD7}"/>
              </a:ext>
            </a:extLst>
          </p:cNvPr>
          <p:cNvGrpSpPr/>
          <p:nvPr userDrawn="1"/>
        </p:nvGrpSpPr>
        <p:grpSpPr>
          <a:xfrm rot="10800000" flipH="1">
            <a:off x="0" y="0"/>
            <a:ext cx="12192000" cy="6858000"/>
            <a:chOff x="0" y="0"/>
            <a:chExt cx="12192000" cy="6858000"/>
          </a:xfrm>
        </p:grpSpPr>
        <p:pic>
          <p:nvPicPr>
            <p:cNvPr id="4" name="Imagen 3">
              <a:extLst>
                <a:ext uri="{FF2B5EF4-FFF2-40B4-BE49-F238E27FC236}">
                  <a16:creationId xmlns:a16="http://schemas.microsoft.com/office/drawing/2014/main" id="{CCABE3BB-B03C-6EC1-5179-C19D28D0CA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riángulo isósceles 5">
              <a:extLst>
                <a:ext uri="{FF2B5EF4-FFF2-40B4-BE49-F238E27FC236}">
                  <a16:creationId xmlns:a16="http://schemas.microsoft.com/office/drawing/2014/main" id="{1E7003A5-BEDC-CCE6-2754-1EF92DE23EF6}"/>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grpSp>
    </p:spTree>
    <p:extLst>
      <p:ext uri="{BB962C8B-B14F-4D97-AF65-F5344CB8AC3E}">
        <p14:creationId xmlns:p14="http://schemas.microsoft.com/office/powerpoint/2010/main" val="32438820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PhAnim="0" userDrawn="1">
  <p:cSld name="1_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4694" y="1393371"/>
            <a:ext cx="11732506"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34142647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6FE9DA5D-7112-8C45-A224-D45A5C6A6A13}"/>
              </a:ext>
            </a:extLst>
          </p:cNvPr>
          <p:cNvSpPr>
            <a:spLocks noGrp="1"/>
          </p:cNvSpPr>
          <p:nvPr>
            <p:ph type="dt" sz="half" idx="10"/>
          </p:nvPr>
        </p:nvSpPr>
        <p:spPr/>
        <p:txBody>
          <a:bodyPr/>
          <a:lstStyle/>
          <a:p>
            <a:fld id="{DFAA69A6-1BDF-409F-898A-05232A4A0CDE}" type="datetime1">
              <a:rPr lang="es-ES_tradnl" smtClean="0"/>
              <a:t>10/07/2024</a:t>
            </a:fld>
            <a:endParaRPr lang="es-ES_tradnl" dirty="0"/>
          </a:p>
        </p:txBody>
      </p:sp>
      <p:sp>
        <p:nvSpPr>
          <p:cNvPr id="3" name="Marcador de pie de página 2">
            <a:extLst>
              <a:ext uri="{FF2B5EF4-FFF2-40B4-BE49-F238E27FC236}">
                <a16:creationId xmlns:a16="http://schemas.microsoft.com/office/drawing/2014/main" id="{9A9CA7C2-A7EC-3D49-BAA3-BA671095A252}"/>
              </a:ext>
            </a:extLst>
          </p:cNvPr>
          <p:cNvSpPr>
            <a:spLocks noGrp="1"/>
          </p:cNvSpPr>
          <p:nvPr>
            <p:ph type="ftr" sz="quarter" idx="11"/>
          </p:nvPr>
        </p:nvSpPr>
        <p:spPr/>
        <p:txBody>
          <a:bodyPr/>
          <a:lstStyle/>
          <a:p>
            <a:endParaRPr lang="es-ES_tradnl" dirty="0"/>
          </a:p>
        </p:txBody>
      </p:sp>
      <p:sp>
        <p:nvSpPr>
          <p:cNvPr id="4" name="Marcador de número de diapositiva 3">
            <a:extLst>
              <a:ext uri="{FF2B5EF4-FFF2-40B4-BE49-F238E27FC236}">
                <a16:creationId xmlns:a16="http://schemas.microsoft.com/office/drawing/2014/main" id="{EFB7B9E6-F983-6D45-8A20-3781F95D57C5}"/>
              </a:ext>
            </a:extLst>
          </p:cNvPr>
          <p:cNvSpPr>
            <a:spLocks noGrp="1"/>
          </p:cNvSpPr>
          <p:nvPr>
            <p:ph type="sldNum" sz="quarter" idx="12"/>
          </p:nvPr>
        </p:nvSpPr>
        <p:spPr/>
        <p:txBody>
          <a:bodyPr/>
          <a:lstStyle/>
          <a:p>
            <a:fld id="{35E0A005-A203-4E4A-A5FC-1742ACA419F9}" type="slidenum">
              <a:rPr lang="es-ES_tradnl" smtClean="0"/>
              <a:t>‹#›</a:t>
            </a:fld>
            <a:endParaRPr lang="es-ES_tradnl" dirty="0"/>
          </a:p>
        </p:txBody>
      </p:sp>
    </p:spTree>
    <p:extLst>
      <p:ext uri="{BB962C8B-B14F-4D97-AF65-F5344CB8AC3E}">
        <p14:creationId xmlns:p14="http://schemas.microsoft.com/office/powerpoint/2010/main" val="16043485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w/ Green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3637D93-7843-304E-A09E-30A247547AD6}"/>
              </a:ext>
            </a:extLst>
          </p:cNvPr>
          <p:cNvGraphicFramePr>
            <a:graphicFrameLocks noChangeAspect="1"/>
          </p:cNvGraphicFramePr>
          <p:nvPr userDrawn="1">
            <p:custDataLst>
              <p:tags r:id="rId1"/>
            </p:custDataLst>
            <p:extLst>
              <p:ext uri="{D42A27DB-BD31-4B8C-83A1-F6EECF244321}">
                <p14:modId xmlns:p14="http://schemas.microsoft.com/office/powerpoint/2010/main" val="2757489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13637D93-7843-304E-A09E-30A247547A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5AE808F9-EA2B-504C-A2F3-3364D8975BD4}"/>
              </a:ext>
            </a:extLst>
          </p:cNvPr>
          <p:cNvSpPr>
            <a:spLocks noGrp="1"/>
          </p:cNvSpPr>
          <p:nvPr>
            <p:ph sz="quarter" idx="10" hasCustomPrompt="1"/>
          </p:nvPr>
        </p:nvSpPr>
        <p:spPr>
          <a:xfrm>
            <a:off x="0" y="304800"/>
            <a:ext cx="11582400" cy="457200"/>
          </a:xfrm>
          <a:prstGeom prst="rect">
            <a:avLst/>
          </a:prstGeom>
        </p:spPr>
        <p:txBody>
          <a:bodyPr/>
          <a:lstStyle>
            <a:lvl1pPr marL="463550" indent="0">
              <a:tabLst/>
              <a:defRPr sz="3200" b="1" i="0">
                <a:latin typeface="Work Sans" pitchFamily="2" charset="77"/>
              </a:defRPr>
            </a:lvl1pPr>
          </a:lstStyle>
          <a:p>
            <a:pPr lvl="0"/>
            <a:r>
              <a:rPr lang="en-US"/>
              <a:t>Title</a:t>
            </a:r>
          </a:p>
        </p:txBody>
      </p:sp>
      <p:sp>
        <p:nvSpPr>
          <p:cNvPr id="16" name="Content Placeholder 14">
            <a:extLst>
              <a:ext uri="{FF2B5EF4-FFF2-40B4-BE49-F238E27FC236}">
                <a16:creationId xmlns:a16="http://schemas.microsoft.com/office/drawing/2014/main" id="{DDBFD0AC-EDF1-6142-B532-97144ECA12D5}"/>
              </a:ext>
            </a:extLst>
          </p:cNvPr>
          <p:cNvSpPr>
            <a:spLocks noGrp="1"/>
          </p:cNvSpPr>
          <p:nvPr>
            <p:ph sz="quarter" idx="11" hasCustomPrompt="1"/>
          </p:nvPr>
        </p:nvSpPr>
        <p:spPr>
          <a:xfrm>
            <a:off x="0" y="990600"/>
            <a:ext cx="11582400" cy="457200"/>
          </a:xfrm>
          <a:prstGeom prst="rect">
            <a:avLst/>
          </a:prstGeom>
        </p:spPr>
        <p:txBody>
          <a:bodyPr/>
          <a:lstStyle>
            <a:lvl1pPr marL="463550" indent="0">
              <a:tabLst/>
              <a:defRPr sz="2400" b="0" i="0">
                <a:solidFill>
                  <a:schemeClr val="accent1"/>
                </a:solidFill>
                <a:latin typeface="Work Sans" pitchFamily="2" charset="77"/>
              </a:defRPr>
            </a:lvl1pPr>
          </a:lstStyle>
          <a:p>
            <a:pPr lvl="0"/>
            <a:r>
              <a:rPr lang="en-US"/>
              <a:t>Subtitle</a:t>
            </a:r>
          </a:p>
        </p:txBody>
      </p:sp>
      <p:cxnSp>
        <p:nvCxnSpPr>
          <p:cNvPr id="5" name="Straight Connector 4">
            <a:extLst>
              <a:ext uri="{FF2B5EF4-FFF2-40B4-BE49-F238E27FC236}">
                <a16:creationId xmlns:a16="http://schemas.microsoft.com/office/drawing/2014/main" id="{487420CF-3151-8646-A12F-392774BFC63D}"/>
              </a:ext>
            </a:extLst>
          </p:cNvPr>
          <p:cNvCxnSpPr>
            <a:cxnSpLocks/>
          </p:cNvCxnSpPr>
          <p:nvPr userDrawn="1"/>
        </p:nvCxnSpPr>
        <p:spPr>
          <a:xfrm>
            <a:off x="0" y="914400"/>
            <a:ext cx="2438400" cy="0"/>
          </a:xfrm>
          <a:prstGeom prst="line">
            <a:avLst/>
          </a:prstGeom>
          <a:ln w="3810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233011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wo Column w/ Green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3637D93-7843-304E-A09E-30A247547AD6}"/>
              </a:ext>
            </a:extLst>
          </p:cNvPr>
          <p:cNvGraphicFramePr>
            <a:graphicFrameLocks noChangeAspect="1"/>
          </p:cNvGraphicFramePr>
          <p:nvPr userDrawn="1">
            <p:custDataLst>
              <p:tags r:id="rId1"/>
            </p:custDataLst>
            <p:extLst>
              <p:ext uri="{D42A27DB-BD31-4B8C-83A1-F6EECF244321}">
                <p14:modId xmlns:p14="http://schemas.microsoft.com/office/powerpoint/2010/main" val="40130666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13637D93-7843-304E-A09E-30A247547A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5AE808F9-EA2B-504C-A2F3-3364D8975BD4}"/>
              </a:ext>
            </a:extLst>
          </p:cNvPr>
          <p:cNvSpPr>
            <a:spLocks noGrp="1"/>
          </p:cNvSpPr>
          <p:nvPr>
            <p:ph sz="quarter" idx="10" hasCustomPrompt="1"/>
          </p:nvPr>
        </p:nvSpPr>
        <p:spPr>
          <a:xfrm>
            <a:off x="0" y="304800"/>
            <a:ext cx="11582400" cy="457200"/>
          </a:xfrm>
          <a:prstGeom prst="rect">
            <a:avLst/>
          </a:prstGeom>
        </p:spPr>
        <p:txBody>
          <a:bodyPr/>
          <a:lstStyle>
            <a:lvl1pPr marL="463550" indent="0">
              <a:tabLst/>
              <a:defRPr sz="3200" b="1" i="0">
                <a:latin typeface="Work Sans" pitchFamily="2" charset="77"/>
              </a:defRPr>
            </a:lvl1pPr>
          </a:lstStyle>
          <a:p>
            <a:pPr lvl="0"/>
            <a:r>
              <a:rPr lang="en-US"/>
              <a:t>Two Column</a:t>
            </a:r>
          </a:p>
        </p:txBody>
      </p:sp>
      <p:sp>
        <p:nvSpPr>
          <p:cNvPr id="16" name="Content Placeholder 14">
            <a:extLst>
              <a:ext uri="{FF2B5EF4-FFF2-40B4-BE49-F238E27FC236}">
                <a16:creationId xmlns:a16="http://schemas.microsoft.com/office/drawing/2014/main" id="{DDBFD0AC-EDF1-6142-B532-97144ECA12D5}"/>
              </a:ext>
            </a:extLst>
          </p:cNvPr>
          <p:cNvSpPr>
            <a:spLocks noGrp="1"/>
          </p:cNvSpPr>
          <p:nvPr>
            <p:ph sz="quarter" idx="11" hasCustomPrompt="1"/>
          </p:nvPr>
        </p:nvSpPr>
        <p:spPr>
          <a:xfrm>
            <a:off x="0" y="990600"/>
            <a:ext cx="11582400" cy="457200"/>
          </a:xfrm>
          <a:prstGeom prst="rect">
            <a:avLst/>
          </a:prstGeom>
        </p:spPr>
        <p:txBody>
          <a:bodyPr/>
          <a:lstStyle>
            <a:lvl1pPr marL="463550" indent="0">
              <a:tabLst/>
              <a:defRPr sz="2400" b="0" i="0">
                <a:solidFill>
                  <a:schemeClr val="accent1"/>
                </a:solidFill>
                <a:latin typeface="Work Sans" pitchFamily="2" charset="77"/>
              </a:defRPr>
            </a:lvl1pPr>
          </a:lstStyle>
          <a:p>
            <a:pPr lvl="0"/>
            <a:r>
              <a:rPr lang="en-US"/>
              <a:t>Subtitle</a:t>
            </a:r>
          </a:p>
        </p:txBody>
      </p:sp>
      <p:sp>
        <p:nvSpPr>
          <p:cNvPr id="3" name="Text Placeholder 2">
            <a:extLst>
              <a:ext uri="{FF2B5EF4-FFF2-40B4-BE49-F238E27FC236}">
                <a16:creationId xmlns:a16="http://schemas.microsoft.com/office/drawing/2014/main" id="{13B2E281-494E-E34C-9DAD-133152DE69AD}"/>
              </a:ext>
            </a:extLst>
          </p:cNvPr>
          <p:cNvSpPr>
            <a:spLocks noGrp="1"/>
          </p:cNvSpPr>
          <p:nvPr>
            <p:ph type="body" sz="quarter" idx="12" hasCustomPrompt="1"/>
          </p:nvPr>
        </p:nvSpPr>
        <p:spPr>
          <a:xfrm>
            <a:off x="609600" y="1828800"/>
            <a:ext cx="5334000" cy="4114800"/>
          </a:xfrm>
          <a:prstGeom prst="rect">
            <a:avLst/>
          </a:prstGeom>
        </p:spPr>
        <p:txBody>
          <a:bodyPr numCol="2"/>
          <a:lstStyle>
            <a:lvl1pPr>
              <a:defRPr sz="1400">
                <a:latin typeface="Work Sans" pitchFamily="2" charset="77"/>
              </a:defRPr>
            </a:lvl1pPr>
            <a:lvl2pPr>
              <a:defRPr sz="1400">
                <a:latin typeface="WORK SANS REGULAR ROMAN" pitchFamily="2" charset="77"/>
              </a:defRPr>
            </a:lvl2pPr>
            <a:lvl3pPr>
              <a:defRPr sz="1400">
                <a:latin typeface="WORK SANS REGULAR ROMAN" pitchFamily="2" charset="77"/>
              </a:defRPr>
            </a:lvl3pPr>
            <a:lvl4pPr>
              <a:defRPr sz="1400">
                <a:latin typeface="WORK SANS REGULAR ROMAN" pitchFamily="2" charset="77"/>
              </a:defRPr>
            </a:lvl4pPr>
            <a:lvl5pPr>
              <a:defRPr sz="1400">
                <a:latin typeface="WORK SANS REGULAR ROMAN" pitchFamily="2" charset="77"/>
              </a:defRPr>
            </a:lvl5pPr>
          </a:lstStyle>
          <a:p>
            <a:pPr lvl="0"/>
            <a:r>
              <a:rPr lang="en-US"/>
              <a:t>Lorem ipsum.</a:t>
            </a:r>
          </a:p>
        </p:txBody>
      </p:sp>
      <p:sp>
        <p:nvSpPr>
          <p:cNvPr id="6" name="Text Placeholder 2">
            <a:extLst>
              <a:ext uri="{FF2B5EF4-FFF2-40B4-BE49-F238E27FC236}">
                <a16:creationId xmlns:a16="http://schemas.microsoft.com/office/drawing/2014/main" id="{2ECB131C-96F9-3341-822B-FE1896F92AEC}"/>
              </a:ext>
            </a:extLst>
          </p:cNvPr>
          <p:cNvSpPr>
            <a:spLocks noGrp="1"/>
          </p:cNvSpPr>
          <p:nvPr>
            <p:ph type="body" sz="quarter" idx="13" hasCustomPrompt="1"/>
          </p:nvPr>
        </p:nvSpPr>
        <p:spPr>
          <a:xfrm>
            <a:off x="6248402" y="1828800"/>
            <a:ext cx="5334000" cy="4114800"/>
          </a:xfrm>
          <a:prstGeom prst="rect">
            <a:avLst/>
          </a:prstGeom>
        </p:spPr>
        <p:txBody>
          <a:bodyPr numCol="2"/>
          <a:lstStyle>
            <a:lvl1pPr>
              <a:defRPr sz="1400">
                <a:latin typeface="Work Sans" pitchFamily="2" charset="77"/>
              </a:defRPr>
            </a:lvl1pPr>
            <a:lvl2pPr>
              <a:defRPr sz="1400">
                <a:latin typeface="WORK SANS REGULAR ROMAN" pitchFamily="2" charset="77"/>
              </a:defRPr>
            </a:lvl2pPr>
            <a:lvl3pPr>
              <a:defRPr sz="1400">
                <a:latin typeface="WORK SANS REGULAR ROMAN" pitchFamily="2" charset="77"/>
              </a:defRPr>
            </a:lvl3pPr>
            <a:lvl4pPr>
              <a:defRPr sz="1400">
                <a:latin typeface="WORK SANS REGULAR ROMAN" pitchFamily="2" charset="77"/>
              </a:defRPr>
            </a:lvl4pPr>
            <a:lvl5pPr>
              <a:defRPr sz="1400">
                <a:latin typeface="WORK SANS REGULAR ROMAN" pitchFamily="2" charset="77"/>
              </a:defRPr>
            </a:lvl5pPr>
          </a:lstStyle>
          <a:p>
            <a:pPr lvl="0"/>
            <a:r>
              <a:rPr lang="en-US"/>
              <a:t>Lorem ipsum.</a:t>
            </a:r>
          </a:p>
        </p:txBody>
      </p:sp>
      <p:cxnSp>
        <p:nvCxnSpPr>
          <p:cNvPr id="8" name="Straight Connector 7">
            <a:extLst>
              <a:ext uri="{FF2B5EF4-FFF2-40B4-BE49-F238E27FC236}">
                <a16:creationId xmlns:a16="http://schemas.microsoft.com/office/drawing/2014/main" id="{C102C0E1-BE14-0340-854C-D017F73D9722}"/>
              </a:ext>
            </a:extLst>
          </p:cNvPr>
          <p:cNvCxnSpPr>
            <a:cxnSpLocks/>
          </p:cNvCxnSpPr>
          <p:nvPr userDrawn="1"/>
        </p:nvCxnSpPr>
        <p:spPr>
          <a:xfrm>
            <a:off x="0" y="914400"/>
            <a:ext cx="2438400" cy="0"/>
          </a:xfrm>
          <a:prstGeom prst="line">
            <a:avLst/>
          </a:prstGeom>
          <a:ln w="3810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811661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PhAnim="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925C-7845-4EE2-A88F-20F57FE70D02}"/>
              </a:ext>
            </a:extLst>
          </p:cNvPr>
          <p:cNvSpPr>
            <a:spLocks noGrp="1"/>
          </p:cNvSpPr>
          <p:nvPr>
            <p:ph type="title"/>
          </p:nvPr>
        </p:nvSpPr>
        <p:spPr>
          <a:xfrm>
            <a:off x="71687" y="136525"/>
            <a:ext cx="11991975" cy="1152345"/>
          </a:xfrm>
        </p:spPr>
        <p:txBody>
          <a:bodyPr/>
          <a:lstStyle>
            <a:lvl1pPr>
              <a:defRPr sz="2400" b="1">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97248AC-B1E6-4AF5-BEB0-DAEC85305A72}"/>
              </a:ext>
            </a:extLst>
          </p:cNvPr>
          <p:cNvSpPr>
            <a:spLocks noGrp="1"/>
          </p:cNvSpPr>
          <p:nvPr>
            <p:ph idx="1"/>
          </p:nvPr>
        </p:nvSpPr>
        <p:spPr>
          <a:xfrm>
            <a:off x="71687" y="1393371"/>
            <a:ext cx="11991975" cy="4783592"/>
          </a:xfrm>
        </p:spPr>
        <p:txBody>
          <a:bodyPr/>
          <a:lstStyle>
            <a:lvl1pPr>
              <a:defRPr>
                <a:solidFill>
                  <a:schemeClr val="tx1"/>
                </a:solidFill>
              </a:defRPr>
            </a:lvl1pPr>
            <a:lvl2pPr>
              <a:defRPr>
                <a:solidFill>
                  <a:schemeClr val="tx1"/>
                </a:solidFill>
              </a:defRPr>
            </a:lvl2pPr>
            <a:lvl3pPr>
              <a:defRPr>
                <a:solidFill>
                  <a:schemeClr val="tx1"/>
                </a:solidFill>
              </a:defRPr>
            </a:lvl3pPr>
            <a:lvl4pPr marL="1371600" indent="0">
              <a:buNone/>
              <a:defRPr>
                <a:solidFill>
                  <a:schemeClr val="tx1"/>
                </a:solidFill>
              </a:defRPr>
            </a:lvl4pPr>
          </a:lstStyle>
          <a:p>
            <a:pPr lvl="0"/>
            <a:r>
              <a:rPr lang="en-US"/>
              <a:t>Click to edit Master text styles</a:t>
            </a:r>
          </a:p>
          <a:p>
            <a:pPr lvl="1"/>
            <a:r>
              <a:rPr lang="en-US"/>
              <a:t>Second level</a:t>
            </a:r>
          </a:p>
          <a:p>
            <a:pPr lvl="2"/>
            <a:r>
              <a:rPr lang="en-US"/>
              <a:t>Third level</a:t>
            </a:r>
          </a:p>
          <a:p>
            <a:pPr lvl="3"/>
            <a:endParaRPr lang="en-US"/>
          </a:p>
        </p:txBody>
      </p:sp>
      <p:sp>
        <p:nvSpPr>
          <p:cNvPr id="6" name="Slide Number Placeholder 5">
            <a:extLst>
              <a:ext uri="{FF2B5EF4-FFF2-40B4-BE49-F238E27FC236}">
                <a16:creationId xmlns:a16="http://schemas.microsoft.com/office/drawing/2014/main" id="{55E422A2-8C74-45BD-A87E-80FB938061CF}"/>
              </a:ext>
            </a:extLst>
          </p:cNvPr>
          <p:cNvSpPr>
            <a:spLocks noGrp="1"/>
          </p:cNvSpPr>
          <p:nvPr>
            <p:ph type="sldNum" sz="quarter" idx="12"/>
          </p:nvPr>
        </p:nvSpPr>
        <p:spPr>
          <a:xfrm>
            <a:off x="11502189" y="6356350"/>
            <a:ext cx="561474" cy="501650"/>
          </a:xfrm>
          <a:prstGeom prst="rect">
            <a:avLst/>
          </a:prstGeom>
        </p:spPr>
        <p:txBody>
          <a:bodyPr/>
          <a:lstStyle/>
          <a:p>
            <a:fld id="{45DD850A-48CF-4963-9607-58D982076C8A}" type="slidenum">
              <a:rPr lang="en-US" smtClean="0"/>
              <a:t>‹#›</a:t>
            </a:fld>
            <a:endParaRPr lang="en-US" dirty="0"/>
          </a:p>
        </p:txBody>
      </p:sp>
      <p:sp>
        <p:nvSpPr>
          <p:cNvPr id="9" name="Content Placeholder 2">
            <a:extLst>
              <a:ext uri="{FF2B5EF4-FFF2-40B4-BE49-F238E27FC236}">
                <a16:creationId xmlns:a16="http://schemas.microsoft.com/office/drawing/2014/main" id="{7E1EF5F8-9AD9-4FA5-8593-375C2F92D645}"/>
              </a:ext>
            </a:extLst>
          </p:cNvPr>
          <p:cNvSpPr>
            <a:spLocks noGrp="1"/>
          </p:cNvSpPr>
          <p:nvPr>
            <p:ph idx="11" hasCustomPrompt="1"/>
          </p:nvPr>
        </p:nvSpPr>
        <p:spPr>
          <a:xfrm>
            <a:off x="1254071" y="6356350"/>
            <a:ext cx="10099729" cy="482194"/>
          </a:xfrm>
        </p:spPr>
        <p:txBody>
          <a:bodyPr anchor="ctr"/>
          <a:lstStyle>
            <a:lvl1pPr>
              <a:buNone/>
              <a:defRPr sz="900" i="1">
                <a:solidFill>
                  <a:schemeClr val="tx2"/>
                </a:solidFill>
              </a:defRPr>
            </a:lvl1pPr>
            <a:lvl2pPr>
              <a:defRPr sz="2400"/>
            </a:lvl2pPr>
            <a:lvl3pPr>
              <a:defRPr sz="2400"/>
            </a:lvl3pPr>
            <a:lvl4pPr marL="1371600" indent="0">
              <a:buNone/>
              <a:defRPr/>
            </a:lvl4pPr>
          </a:lstStyle>
          <a:p>
            <a:pPr lvl="0"/>
            <a:r>
              <a:rPr lang="en-US"/>
              <a:t>Click to edit footnotes</a:t>
            </a:r>
          </a:p>
        </p:txBody>
      </p:sp>
    </p:spTree>
    <p:extLst>
      <p:ext uri="{BB962C8B-B14F-4D97-AF65-F5344CB8AC3E}">
        <p14:creationId xmlns:p14="http://schemas.microsoft.com/office/powerpoint/2010/main" val="10339974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2890069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p:txBody>
      </p:sp>
    </p:spTree>
    <p:extLst>
      <p:ext uri="{BB962C8B-B14F-4D97-AF65-F5344CB8AC3E}">
        <p14:creationId xmlns:p14="http://schemas.microsoft.com/office/powerpoint/2010/main" val="1879765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F93B1F0-5393-B5FC-4E5B-5A2BF8908D2F}"/>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1E3C21D3-AC16-9C03-C56F-EEE16D7D7BE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8DA10E6C-CD2A-BCBF-5B61-8C98FA729C5A}"/>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987CD1C3-71D0-17F8-C4F2-AF8EFCD2CD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F16FFE05-3581-9B9B-FD66-79EB0E822DC6}"/>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53A57485-5A6D-757D-FE5A-1D92710BB044}"/>
              </a:ext>
            </a:extLst>
          </p:cNvPr>
          <p:cNvSpPr>
            <a:spLocks noGrp="1"/>
          </p:cNvSpPr>
          <p:nvPr>
            <p:ph type="dt" sz="half" idx="10"/>
          </p:nvPr>
        </p:nvSpPr>
        <p:spPr/>
        <p:txBody>
          <a:bodyPr/>
          <a:lstStyle/>
          <a:p>
            <a:fld id="{C7F89BBF-A7CA-4322-A9CC-B59A35DBC39E}" type="datetime1">
              <a:rPr lang="es-ES_tradnl" smtClean="0"/>
              <a:t>10/07/2024</a:t>
            </a:fld>
            <a:endParaRPr lang="es-CO"/>
          </a:p>
        </p:txBody>
      </p:sp>
      <p:sp>
        <p:nvSpPr>
          <p:cNvPr id="8" name="Marcador de pie de página 7">
            <a:extLst>
              <a:ext uri="{FF2B5EF4-FFF2-40B4-BE49-F238E27FC236}">
                <a16:creationId xmlns:a16="http://schemas.microsoft.com/office/drawing/2014/main" id="{E1A799C2-6427-D950-7AFB-000C1A935863}"/>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EBAFE580-C235-56C2-41BC-9C3D55BB3ACB}"/>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31245440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lThirdevel</a:t>
            </a:r>
          </a:p>
          <a:p>
            <a:pPr lvl="3"/>
            <a:endParaRPr lang="es-CO"/>
          </a:p>
        </p:txBody>
      </p:sp>
    </p:spTree>
    <p:extLst>
      <p:ext uri="{BB962C8B-B14F-4D97-AF65-F5344CB8AC3E}">
        <p14:creationId xmlns:p14="http://schemas.microsoft.com/office/powerpoint/2010/main" val="17703858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11420347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s-CO"/>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9201034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a:p>
            <a:pPr lvl="3"/>
            <a:endParaRPr lang="es-CO"/>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10735368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a:p>
            <a:pPr lvl="3"/>
            <a:endParaRPr lang="es-CO"/>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211718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980255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s-CO"/>
              <a:t>Click to edit Master text styles</a:t>
            </a:r>
          </a:p>
          <a:p>
            <a:pPr lvl="1"/>
            <a:r>
              <a:rPr lang="es-CO"/>
              <a:t>Second level</a:t>
            </a:r>
          </a:p>
          <a:p>
            <a:pPr lvl="2"/>
            <a:r>
              <a:rPr lang="es-CO"/>
              <a:t>Third level</a:t>
            </a:r>
          </a:p>
          <a:p>
            <a:pPr lvl="3"/>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28272790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s-CO" sz="1200">
                <a:solidFill>
                  <a:srgbClr val="304258"/>
                </a:solidFill>
                <a:latin typeface="Poppins" panose="00000500000000000000" pitchFamily="2" charset="0"/>
                <a:ea typeface="Lato"/>
                <a:cs typeface="Poppins" panose="00000500000000000000" pitchFamily="2" charset="0"/>
              </a:rPr>
              <a:t>Project </a:t>
            </a:r>
            <a:r>
              <a:rPr lang="es-CO" sz="1200" err="1">
                <a:solidFill>
                  <a:srgbClr val="304258"/>
                </a:solidFill>
                <a:latin typeface="Poppins" panose="00000500000000000000" pitchFamily="2" charset="0"/>
                <a:ea typeface="Lato"/>
                <a:cs typeface="Poppins" panose="00000500000000000000" pitchFamily="2" charset="0"/>
              </a:rPr>
              <a:t>leadership</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a:solidFill>
                  <a:srgbClr val="304258"/>
                </a:solidFill>
                <a:latin typeface="Poppins" panose="00000500000000000000" pitchFamily="2" charset="0"/>
                <a:ea typeface="Lato"/>
                <a:cs typeface="Poppins" panose="00000500000000000000" pitchFamily="2" charset="0"/>
              </a:rPr>
              <a:t>Decision </a:t>
            </a:r>
            <a:r>
              <a:rPr lang="es-CO" sz="1200" err="1">
                <a:solidFill>
                  <a:srgbClr val="304258"/>
                </a:solidFill>
                <a:latin typeface="Poppins" panose="00000500000000000000" pitchFamily="2" charset="0"/>
                <a:ea typeface="Lato"/>
                <a:cs typeface="Poppins" panose="00000500000000000000" pitchFamily="2" charset="0"/>
              </a:rPr>
              <a:t>making</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Issue</a:t>
            </a:r>
            <a:r>
              <a:rPr lang="es-CO" sz="1200">
                <a:solidFill>
                  <a:srgbClr val="304258"/>
                </a:solidFill>
                <a:latin typeface="Poppins" panose="00000500000000000000" pitchFamily="2" charset="0"/>
                <a:ea typeface="Lato"/>
                <a:cs typeface="Poppins" panose="00000500000000000000" pitchFamily="2" charset="0"/>
              </a:rPr>
              <a:t> </a:t>
            </a:r>
            <a:r>
              <a:rPr lang="es-CO" sz="1200" err="1">
                <a:solidFill>
                  <a:srgbClr val="304258"/>
                </a:solidFill>
                <a:latin typeface="Poppins" panose="00000500000000000000" pitchFamily="2" charset="0"/>
                <a:ea typeface="Lato"/>
                <a:cs typeface="Poppins" panose="00000500000000000000" pitchFamily="2" charset="0"/>
              </a:rPr>
              <a:t>resolution</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Experience</a:t>
            </a:r>
            <a:endParaRPr lang="es-CO" sz="1200">
              <a:solidFill>
                <a:srgbClr val="304258"/>
              </a:solidFill>
              <a:latin typeface="Poppins" panose="00000500000000000000" pitchFamily="2" charset="0"/>
              <a:ea typeface="Lato"/>
              <a:cs typeface="Poppins" panose="00000500000000000000" pitchFamily="2" charset="0"/>
            </a:endParaRP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s-CO">
                <a:solidFill>
                  <a:srgbClr val="304258"/>
                </a:solidFill>
                <a:latin typeface="Poppins" panose="00000500000000000000" pitchFamily="2" charset="0"/>
                <a:cs typeface="Poppins" panose="00000500000000000000" pitchFamily="2" charset="0"/>
              </a:rPr>
              <a:t>Data gathering</a:t>
            </a:r>
          </a:p>
          <a:p>
            <a:r>
              <a:rPr lang="es-CO">
                <a:solidFill>
                  <a:srgbClr val="304258"/>
                </a:solidFill>
                <a:latin typeface="Poppins" panose="00000500000000000000" pitchFamily="2" charset="0"/>
                <a:cs typeface="Poppins" panose="00000500000000000000" pitchFamily="2" charset="0"/>
              </a:rPr>
              <a:t>Analysis structuring and execution</a:t>
            </a:r>
          </a:p>
          <a:p>
            <a:r>
              <a:rPr lang="es-CO">
                <a:solidFill>
                  <a:srgbClr val="304258"/>
                </a:solidFill>
                <a:latin typeface="Poppins" panose="00000500000000000000" pitchFamily="2" charset="0"/>
                <a:cs typeface="Poppins" panose="00000500000000000000" pitchFamily="2" charset="0"/>
              </a:rPr>
              <a:t>Technical expertise</a:t>
            </a:r>
          </a:p>
          <a:p>
            <a:r>
              <a:rPr lang="es-CO">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s-CO"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s-CO"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s-CO"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s-CO"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Tree>
    <p:extLst>
      <p:ext uri="{BB962C8B-B14F-4D97-AF65-F5344CB8AC3E}">
        <p14:creationId xmlns:p14="http://schemas.microsoft.com/office/powerpoint/2010/main" val="31095554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Tree>
    <p:extLst>
      <p:ext uri="{BB962C8B-B14F-4D97-AF65-F5344CB8AC3E}">
        <p14:creationId xmlns:p14="http://schemas.microsoft.com/office/powerpoint/2010/main" val="22288357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Tree>
    <p:extLst>
      <p:ext uri="{BB962C8B-B14F-4D97-AF65-F5344CB8AC3E}">
        <p14:creationId xmlns:p14="http://schemas.microsoft.com/office/powerpoint/2010/main" val="23899520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2E5B56-3FEE-8224-4370-9D4B5BBF39FB}"/>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8A6FCDC9-D76C-5DFB-3378-81FF9B20B546}"/>
              </a:ext>
            </a:extLst>
          </p:cNvPr>
          <p:cNvSpPr>
            <a:spLocks noGrp="1"/>
          </p:cNvSpPr>
          <p:nvPr>
            <p:ph type="dt" sz="half" idx="10"/>
          </p:nvPr>
        </p:nvSpPr>
        <p:spPr/>
        <p:txBody>
          <a:bodyPr/>
          <a:lstStyle/>
          <a:p>
            <a:fld id="{DE4F33D1-ECF6-47D2-BFAE-18595E70145C}" type="datetime1">
              <a:rPr lang="es-ES_tradnl" smtClean="0"/>
              <a:t>10/07/2024</a:t>
            </a:fld>
            <a:endParaRPr lang="es-CO"/>
          </a:p>
        </p:txBody>
      </p:sp>
      <p:sp>
        <p:nvSpPr>
          <p:cNvPr id="4" name="Marcador de pie de página 3">
            <a:extLst>
              <a:ext uri="{FF2B5EF4-FFF2-40B4-BE49-F238E27FC236}">
                <a16:creationId xmlns:a16="http://schemas.microsoft.com/office/drawing/2014/main" id="{8DAE4F93-D0D9-3F01-6FA8-31AF9F967F3F}"/>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8C96E3F8-0AFE-581F-A632-1EDE173DFAE9}"/>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14453374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to edit Master text styles</a:t>
            </a:r>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to edit Master text styles</a:t>
            </a:r>
          </a:p>
        </p:txBody>
      </p:sp>
    </p:spTree>
    <p:extLst>
      <p:ext uri="{BB962C8B-B14F-4D97-AF65-F5344CB8AC3E}">
        <p14:creationId xmlns:p14="http://schemas.microsoft.com/office/powerpoint/2010/main" val="42558895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s-CO"/>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a:p>
            <a:pPr lvl="3"/>
            <a:endParaRPr lang="es-CO"/>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10728669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s-CO"/>
              <a:t>Click to edit Master title style</a:t>
            </a:r>
          </a:p>
        </p:txBody>
      </p:sp>
    </p:spTree>
    <p:extLst>
      <p:ext uri="{BB962C8B-B14F-4D97-AF65-F5344CB8AC3E}">
        <p14:creationId xmlns:p14="http://schemas.microsoft.com/office/powerpoint/2010/main" val="18862196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17737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s-CO"/>
              <a:t>Click to edit Master text styles</a:t>
            </a:r>
          </a:p>
          <a:p>
            <a:pPr lvl="1"/>
            <a:r>
              <a:rPr lang="es-CO"/>
              <a:t>Second level</a:t>
            </a:r>
          </a:p>
          <a:p>
            <a:pPr lvl="2"/>
            <a:r>
              <a:rPr lang="es-CO"/>
              <a:t>Third level</a:t>
            </a:r>
          </a:p>
          <a:p>
            <a:pPr lvl="3"/>
            <a:endParaRPr lang="es-CO"/>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s-CO"/>
              <a:t>Click to edit Master title style</a:t>
            </a:r>
          </a:p>
        </p:txBody>
      </p:sp>
    </p:spTree>
    <p:extLst>
      <p:ext uri="{BB962C8B-B14F-4D97-AF65-F5344CB8AC3E}">
        <p14:creationId xmlns:p14="http://schemas.microsoft.com/office/powerpoint/2010/main" val="7018733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985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lang="es-CO" sz="2000"/>
          </a:p>
        </p:txBody>
      </p:sp>
    </p:spTree>
    <p:extLst>
      <p:ext uri="{BB962C8B-B14F-4D97-AF65-F5344CB8AC3E}">
        <p14:creationId xmlns:p14="http://schemas.microsoft.com/office/powerpoint/2010/main" val="715931579"/>
      </p:ext>
    </p:extLst>
  </p:cSld>
  <p:clrMapOvr>
    <a:masterClrMapping/>
  </p:clrMapOvr>
  <p:transition spd="slow" advTm="2000">
    <p:cover dir="d"/>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s-CO"/>
              <a:t>Insert your main title here</a:t>
            </a:r>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a:t>Insert your awesome subtitle here</a:t>
            </a:r>
          </a:p>
        </p:txBody>
      </p:sp>
    </p:spTree>
    <p:extLst>
      <p:ext uri="{BB962C8B-B14F-4D97-AF65-F5344CB8AC3E}">
        <p14:creationId xmlns:p14="http://schemas.microsoft.com/office/powerpoint/2010/main" val="906694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981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s-CO"/>
          </a:p>
        </p:txBody>
      </p:sp>
    </p:spTree>
    <p:extLst>
      <p:ext uri="{BB962C8B-B14F-4D97-AF65-F5344CB8AC3E}">
        <p14:creationId xmlns:p14="http://schemas.microsoft.com/office/powerpoint/2010/main" val="1592211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8F395B2A-8F2A-6B6D-5269-879BBACCFCC6}"/>
              </a:ext>
            </a:extLst>
          </p:cNvPr>
          <p:cNvSpPr>
            <a:spLocks noGrp="1"/>
          </p:cNvSpPr>
          <p:nvPr>
            <p:ph type="dt" sz="half" idx="10"/>
          </p:nvPr>
        </p:nvSpPr>
        <p:spPr/>
        <p:txBody>
          <a:bodyPr/>
          <a:lstStyle/>
          <a:p>
            <a:fld id="{373DE3C2-FA7D-47CA-BB74-3F72096943A4}" type="datetime1">
              <a:rPr lang="es-ES_tradnl" smtClean="0"/>
              <a:t>10/07/2024</a:t>
            </a:fld>
            <a:endParaRPr lang="es-CO"/>
          </a:p>
        </p:txBody>
      </p:sp>
      <p:sp>
        <p:nvSpPr>
          <p:cNvPr id="3" name="Marcador de pie de página 2">
            <a:extLst>
              <a:ext uri="{FF2B5EF4-FFF2-40B4-BE49-F238E27FC236}">
                <a16:creationId xmlns:a16="http://schemas.microsoft.com/office/drawing/2014/main" id="{211CBE59-133D-71EC-F10B-0ECD2633C105}"/>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F019559B-DCC1-1D59-1428-84BE25C01373}"/>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5467165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s-CO"/>
              <a:t>Insert your main title here</a:t>
            </a:r>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O"/>
              <a:t>Insert your awesome subtitle here</a:t>
            </a:r>
          </a:p>
        </p:txBody>
      </p:sp>
    </p:spTree>
    <p:extLst>
      <p:ext uri="{BB962C8B-B14F-4D97-AF65-F5344CB8AC3E}">
        <p14:creationId xmlns:p14="http://schemas.microsoft.com/office/powerpoint/2010/main" val="25606554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hasCustomPrompt="1"/>
          </p:nvPr>
        </p:nvSpPr>
        <p:spPr/>
        <p:txBody>
          <a:bodyPr/>
          <a:lstStyle/>
          <a:p>
            <a:r>
              <a:rPr lang="es-CO"/>
              <a:t>Haz clic para modificar el estilo de título del patrón</a:t>
            </a:r>
          </a:p>
        </p:txBody>
      </p:sp>
    </p:spTree>
    <p:extLst>
      <p:ext uri="{BB962C8B-B14F-4D97-AF65-F5344CB8AC3E}">
        <p14:creationId xmlns:p14="http://schemas.microsoft.com/office/powerpoint/2010/main" val="575567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fld id="{6D5D4A87-DFE5-4922-9B03-36DA10FE006B}" type="datetime1">
              <a:rPr lang="es-ES_tradnl" smtClean="0"/>
              <a:t>10/07/2024</a:t>
            </a:fld>
            <a:endParaRPr lang="es-CO"/>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O" b="0" i="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O" b="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a:solidFill>
                  <a:schemeClr val="bg1"/>
                </a:solidFill>
                <a:effectLst/>
                <a:latin typeface="+mj-lt"/>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l"/>
            <a:endParaRPr lang="es-CO">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29696244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7156CC59-C862-D989-1BF0-B89865AC2DB6}"/>
              </a:ext>
            </a:extLst>
          </p:cNvPr>
          <p:cNvSpPr>
            <a:spLocks noGrp="1"/>
          </p:cNvSpPr>
          <p:nvPr>
            <p:ph type="dt" sz="half" idx="10"/>
          </p:nvPr>
        </p:nvSpPr>
        <p:spPr/>
        <p:txBody>
          <a:bodyPr/>
          <a:lstStyle/>
          <a:p>
            <a:fld id="{DB9EB3C8-D3C1-420C-9796-ACA78D1568EF}" type="datetime1">
              <a:rPr lang="es-ES_tradnl" smtClean="0"/>
              <a:t>10/07/2024</a:t>
            </a:fld>
            <a:endParaRPr lang="es-CO"/>
          </a:p>
        </p:txBody>
      </p:sp>
      <p:sp>
        <p:nvSpPr>
          <p:cNvPr id="3" name="Marcador de pie de página 2">
            <a:extLst>
              <a:ext uri="{FF2B5EF4-FFF2-40B4-BE49-F238E27FC236}">
                <a16:creationId xmlns:a16="http://schemas.microsoft.com/office/drawing/2014/main" id="{E1B50424-ACE5-91A8-08B3-970065076702}"/>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ACB1EBA4-A8C0-2CD6-3EC1-E08EC7B3A2EF}"/>
              </a:ext>
            </a:extLst>
          </p:cNvPr>
          <p:cNvSpPr>
            <a:spLocks noGrp="1"/>
          </p:cNvSpPr>
          <p:nvPr>
            <p:ph type="sldNum" sz="quarter" idx="12"/>
          </p:nvPr>
        </p:nvSpPr>
        <p:spPr/>
        <p:txBody>
          <a:bodyPr/>
          <a:lstStyle/>
          <a:p>
            <a:fld id="{84C6C1A2-A7E8-A349-BC65-CFD954CC74C7}" type="slidenum">
              <a:rPr lang="es-CO" smtClean="0"/>
              <a:t>‹#›</a:t>
            </a:fld>
            <a:endParaRPr lang="es-CO"/>
          </a:p>
        </p:txBody>
      </p:sp>
    </p:spTree>
    <p:extLst>
      <p:ext uri="{BB962C8B-B14F-4D97-AF65-F5344CB8AC3E}">
        <p14:creationId xmlns:p14="http://schemas.microsoft.com/office/powerpoint/2010/main" val="20839302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713082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25359841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dirty="0"/>
          </a:p>
        </p:txBody>
      </p:sp>
    </p:spTree>
    <p:extLst>
      <p:ext uri="{BB962C8B-B14F-4D97-AF65-F5344CB8AC3E}">
        <p14:creationId xmlns:p14="http://schemas.microsoft.com/office/powerpoint/2010/main" val="24043386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dirty="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dirty="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22089439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dirty="0"/>
          </a:p>
        </p:txBody>
      </p:sp>
    </p:spTree>
    <p:extLst>
      <p:ext uri="{BB962C8B-B14F-4D97-AF65-F5344CB8AC3E}">
        <p14:creationId xmlns:p14="http://schemas.microsoft.com/office/powerpoint/2010/main" val="28839702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dirty="0"/>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dirty="0"/>
          </a:p>
        </p:txBody>
      </p:sp>
    </p:spTree>
    <p:extLst>
      <p:ext uri="{BB962C8B-B14F-4D97-AF65-F5344CB8AC3E}">
        <p14:creationId xmlns:p14="http://schemas.microsoft.com/office/powerpoint/2010/main" val="3199328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DD46FD7-729F-8A56-B09B-04F12BC29E67}"/>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11775580-665E-CCE4-32A8-11BF0E93E3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B3F72DC0-FE99-B860-1DF1-7D058FE72C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39B7C64E-5461-122A-B0DF-AA3A09F21765}"/>
              </a:ext>
            </a:extLst>
          </p:cNvPr>
          <p:cNvSpPr>
            <a:spLocks noGrp="1"/>
          </p:cNvSpPr>
          <p:nvPr>
            <p:ph type="dt" sz="half" idx="10"/>
          </p:nvPr>
        </p:nvSpPr>
        <p:spPr/>
        <p:txBody>
          <a:bodyPr/>
          <a:lstStyle/>
          <a:p>
            <a:fld id="{1647E506-64AE-42DB-A753-B41085FDFFDD}" type="datetime1">
              <a:rPr lang="es-ES_tradnl" smtClean="0"/>
              <a:t>10/07/2024</a:t>
            </a:fld>
            <a:endParaRPr lang="es-CO"/>
          </a:p>
        </p:txBody>
      </p:sp>
      <p:sp>
        <p:nvSpPr>
          <p:cNvPr id="6" name="Marcador de pie de página 5">
            <a:extLst>
              <a:ext uri="{FF2B5EF4-FFF2-40B4-BE49-F238E27FC236}">
                <a16:creationId xmlns:a16="http://schemas.microsoft.com/office/drawing/2014/main" id="{17D793FB-433C-EAB1-81F3-1EA32A6CD3A2}"/>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135BE238-740B-B24B-1EBF-38350FC1E52E}"/>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21486131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dirty="0"/>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9339201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dirty="0"/>
          </a:p>
        </p:txBody>
      </p:sp>
    </p:spTree>
    <p:extLst>
      <p:ext uri="{BB962C8B-B14F-4D97-AF65-F5344CB8AC3E}">
        <p14:creationId xmlns:p14="http://schemas.microsoft.com/office/powerpoint/2010/main" val="19366854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dirty="0"/>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dirty="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dirty="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dirty="0">
                <a:solidFill>
                  <a:srgbClr val="304258"/>
                </a:solidFill>
                <a:latin typeface="Poppins" panose="00000500000000000000" pitchFamily="2" charset="0"/>
                <a:cs typeface="Poppins" panose="00000500000000000000" pitchFamily="2" charset="0"/>
              </a:rPr>
              <a:t>Data gathering</a:t>
            </a:r>
          </a:p>
          <a:p>
            <a:r>
              <a:rPr lang="en-US" dirty="0">
                <a:solidFill>
                  <a:srgbClr val="304258"/>
                </a:solidFill>
                <a:latin typeface="Poppins" panose="00000500000000000000" pitchFamily="2" charset="0"/>
                <a:cs typeface="Poppins" panose="00000500000000000000" pitchFamily="2" charset="0"/>
              </a:rPr>
              <a:t>Analysis structuring and execution</a:t>
            </a:r>
          </a:p>
          <a:p>
            <a:r>
              <a:rPr lang="en-US" dirty="0">
                <a:solidFill>
                  <a:srgbClr val="304258"/>
                </a:solidFill>
                <a:latin typeface="Poppins" panose="00000500000000000000" pitchFamily="2" charset="0"/>
                <a:cs typeface="Poppins" panose="00000500000000000000" pitchFamily="2" charset="0"/>
              </a:rPr>
              <a:t>Technical expertise</a:t>
            </a:r>
          </a:p>
          <a:p>
            <a:r>
              <a:rPr lang="en-US" dirty="0">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dirty="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7669280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519653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0864559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dirty="0">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7785180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26586486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382279318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40861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1691342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6F97ABF-A7C5-0F17-E9E2-85F5362285E7}"/>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86E9E149-8ED8-AAB2-368A-2C5D6290C47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a:extLst>
              <a:ext uri="{FF2B5EF4-FFF2-40B4-BE49-F238E27FC236}">
                <a16:creationId xmlns:a16="http://schemas.microsoft.com/office/drawing/2014/main" id="{EE3B25AF-720C-F3D1-1C23-092148CE30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948028B-6A74-1CF1-F691-77A885938027}"/>
              </a:ext>
            </a:extLst>
          </p:cNvPr>
          <p:cNvSpPr>
            <a:spLocks noGrp="1"/>
          </p:cNvSpPr>
          <p:nvPr>
            <p:ph type="dt" sz="half" idx="10"/>
          </p:nvPr>
        </p:nvSpPr>
        <p:spPr/>
        <p:txBody>
          <a:bodyPr/>
          <a:lstStyle/>
          <a:p>
            <a:fld id="{8568C827-29DF-4DCC-98B6-840BEF75D31A}" type="datetime1">
              <a:rPr lang="es-ES_tradnl" smtClean="0"/>
              <a:t>10/07/2024</a:t>
            </a:fld>
            <a:endParaRPr lang="es-CO"/>
          </a:p>
        </p:txBody>
      </p:sp>
      <p:sp>
        <p:nvSpPr>
          <p:cNvPr id="6" name="Marcador de pie de página 5">
            <a:extLst>
              <a:ext uri="{FF2B5EF4-FFF2-40B4-BE49-F238E27FC236}">
                <a16:creationId xmlns:a16="http://schemas.microsoft.com/office/drawing/2014/main" id="{048DD189-81B9-2365-9604-06AB9685AA5D}"/>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D3954215-56E5-243B-541B-2E6E6180850A}"/>
              </a:ext>
            </a:extLst>
          </p:cNvPr>
          <p:cNvSpPr>
            <a:spLocks noGrp="1"/>
          </p:cNvSpPr>
          <p:nvPr>
            <p:ph type="sldNum" sz="quarter" idx="12"/>
          </p:nvPr>
        </p:nvSpPr>
        <p:spPr/>
        <p:txBody>
          <a:bodyPr/>
          <a:lstStyle/>
          <a:p>
            <a:fld id="{F07FE009-00E8-46F4-960E-6E20957D4583}" type="slidenum">
              <a:rPr lang="es-CO" smtClean="0"/>
              <a:t>‹#›</a:t>
            </a:fld>
            <a:endParaRPr lang="es-CO"/>
          </a:p>
        </p:txBody>
      </p:sp>
    </p:spTree>
    <p:extLst>
      <p:ext uri="{BB962C8B-B14F-4D97-AF65-F5344CB8AC3E}">
        <p14:creationId xmlns:p14="http://schemas.microsoft.com/office/powerpoint/2010/main" val="5930137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8759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dirty="0"/>
          </a:p>
        </p:txBody>
      </p:sp>
    </p:spTree>
    <p:extLst>
      <p:ext uri="{BB962C8B-B14F-4D97-AF65-F5344CB8AC3E}">
        <p14:creationId xmlns:p14="http://schemas.microsoft.com/office/powerpoint/2010/main" val="2682836165"/>
      </p:ext>
    </p:extLst>
  </p:cSld>
  <p:clrMapOvr>
    <a:masterClrMapping/>
  </p:clrMapOvr>
  <p:transition spd="slow" advTm="2000">
    <p:cover dir="d"/>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37397558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73436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19046226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767206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22625677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fld id="{EF2F394F-FC3E-4F0E-B9D4-89E34C73E50F}" type="datetime1">
              <a:rPr lang="es-ES_tradnl" smtClean="0"/>
              <a:t>10/07/2024</a:t>
            </a:fld>
            <a:endParaRPr lang="en-US" dirty="0"/>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dirty="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dirty="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dirty="0">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dirty="0">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dirty="0">
                <a:solidFill>
                  <a:schemeClr val="bg1"/>
                </a:solidFill>
                <a:effectLst/>
                <a:latin typeface="+mj-lt"/>
              </a:rPr>
              <a:t>andres@iotaimpact.com</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us</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dirty="0">
                <a:solidFill>
                  <a:schemeClr val="bg1"/>
                </a:solidFill>
                <a:effectLst/>
                <a:latin typeface="+mj-lt"/>
              </a:rPr>
              <a:t>@iotaimpactlat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dirty="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dirty="0">
                <a:solidFill>
                  <a:schemeClr val="bg1"/>
                </a:solidFill>
                <a:effectLst/>
                <a:latin typeface="+mj-lt"/>
              </a:rPr>
              <a:t>Confidential and proprietary. Not for distribution without IOTA Impact's permission.</a:t>
            </a:r>
            <a:endParaRPr lang="es-CO" sz="900" dirty="0">
              <a:solidFill>
                <a:schemeClr val="bg1"/>
              </a:solidFill>
              <a:effectLst/>
              <a:latin typeface="+mj-lt"/>
            </a:endParaRPr>
          </a:p>
          <a:p>
            <a:pPr algn="l"/>
            <a:endParaRPr lang="es-CO" dirty="0">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18071297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7156CC59-C862-D989-1BF0-B89865AC2DB6}"/>
              </a:ext>
            </a:extLst>
          </p:cNvPr>
          <p:cNvSpPr>
            <a:spLocks noGrp="1"/>
          </p:cNvSpPr>
          <p:nvPr>
            <p:ph type="dt" sz="half" idx="10"/>
          </p:nvPr>
        </p:nvSpPr>
        <p:spPr/>
        <p:txBody>
          <a:bodyPr/>
          <a:lstStyle/>
          <a:p>
            <a:fld id="{F920923E-E51F-45A5-BE33-9EE1265A9814}" type="datetime1">
              <a:rPr lang="es-ES_tradnl" smtClean="0"/>
              <a:t>10/07/2024</a:t>
            </a:fld>
            <a:endParaRPr lang="es-CO" dirty="0"/>
          </a:p>
        </p:txBody>
      </p:sp>
      <p:sp>
        <p:nvSpPr>
          <p:cNvPr id="3" name="Marcador de pie de página 2">
            <a:extLst>
              <a:ext uri="{FF2B5EF4-FFF2-40B4-BE49-F238E27FC236}">
                <a16:creationId xmlns:a16="http://schemas.microsoft.com/office/drawing/2014/main" id="{E1B50424-ACE5-91A8-08B3-970065076702}"/>
              </a:ext>
            </a:extLst>
          </p:cNvPr>
          <p:cNvSpPr>
            <a:spLocks noGrp="1"/>
          </p:cNvSpPr>
          <p:nvPr>
            <p:ph type="ftr" sz="quarter" idx="11"/>
          </p:nvPr>
        </p:nvSpPr>
        <p:spPr/>
        <p:txBody>
          <a:bodyPr/>
          <a:lstStyle/>
          <a:p>
            <a:endParaRPr lang="es-CO" dirty="0"/>
          </a:p>
        </p:txBody>
      </p:sp>
      <p:sp>
        <p:nvSpPr>
          <p:cNvPr id="4" name="Marcador de número de diapositiva 3">
            <a:extLst>
              <a:ext uri="{FF2B5EF4-FFF2-40B4-BE49-F238E27FC236}">
                <a16:creationId xmlns:a16="http://schemas.microsoft.com/office/drawing/2014/main" id="{ACB1EBA4-A8C0-2CD6-3EC1-E08EC7B3A2EF}"/>
              </a:ext>
            </a:extLst>
          </p:cNvPr>
          <p:cNvSpPr>
            <a:spLocks noGrp="1"/>
          </p:cNvSpPr>
          <p:nvPr>
            <p:ph type="sldNum" sz="quarter" idx="12"/>
          </p:nvPr>
        </p:nvSpPr>
        <p:spPr/>
        <p:txBody>
          <a:bodyPr/>
          <a:lstStyle/>
          <a:p>
            <a:fld id="{84C6C1A2-A7E8-A349-BC65-CFD954CC74C7}" type="slidenum">
              <a:rPr lang="es-CO" smtClean="0"/>
              <a:t>‹#›</a:t>
            </a:fld>
            <a:endParaRPr lang="es-CO" dirty="0"/>
          </a:p>
        </p:txBody>
      </p:sp>
    </p:spTree>
    <p:extLst>
      <p:ext uri="{BB962C8B-B14F-4D97-AF65-F5344CB8AC3E}">
        <p14:creationId xmlns:p14="http://schemas.microsoft.com/office/powerpoint/2010/main" val="19708831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w/ Green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3637D93-7843-304E-A09E-30A247547AD6}"/>
              </a:ext>
            </a:extLst>
          </p:cNvPr>
          <p:cNvGraphicFramePr>
            <a:graphicFrameLocks noChangeAspect="1"/>
          </p:cNvGraphicFramePr>
          <p:nvPr userDrawn="1">
            <p:custDataLst>
              <p:tags r:id="rId1"/>
            </p:custDataLst>
            <p:extLst>
              <p:ext uri="{D42A27DB-BD31-4B8C-83A1-F6EECF244321}">
                <p14:modId xmlns:p14="http://schemas.microsoft.com/office/powerpoint/2010/main" val="2757489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13637D93-7843-304E-A09E-30A247547A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5AE808F9-EA2B-504C-A2F3-3364D8975BD4}"/>
              </a:ext>
            </a:extLst>
          </p:cNvPr>
          <p:cNvSpPr>
            <a:spLocks noGrp="1"/>
          </p:cNvSpPr>
          <p:nvPr>
            <p:ph sz="quarter" idx="10" hasCustomPrompt="1"/>
          </p:nvPr>
        </p:nvSpPr>
        <p:spPr>
          <a:xfrm>
            <a:off x="0" y="304800"/>
            <a:ext cx="11582400" cy="457200"/>
          </a:xfrm>
          <a:prstGeom prst="rect">
            <a:avLst/>
          </a:prstGeom>
        </p:spPr>
        <p:txBody>
          <a:bodyPr/>
          <a:lstStyle>
            <a:lvl1pPr marL="463550" indent="0">
              <a:tabLst/>
              <a:defRPr sz="3200" b="1" i="0">
                <a:latin typeface="Work Sans" pitchFamily="2" charset="77"/>
              </a:defRPr>
            </a:lvl1pPr>
          </a:lstStyle>
          <a:p>
            <a:pPr lvl="0"/>
            <a:r>
              <a:rPr lang="en-US"/>
              <a:t>Title</a:t>
            </a:r>
          </a:p>
        </p:txBody>
      </p:sp>
      <p:sp>
        <p:nvSpPr>
          <p:cNvPr id="16" name="Content Placeholder 14">
            <a:extLst>
              <a:ext uri="{FF2B5EF4-FFF2-40B4-BE49-F238E27FC236}">
                <a16:creationId xmlns:a16="http://schemas.microsoft.com/office/drawing/2014/main" id="{DDBFD0AC-EDF1-6142-B532-97144ECA12D5}"/>
              </a:ext>
            </a:extLst>
          </p:cNvPr>
          <p:cNvSpPr>
            <a:spLocks noGrp="1"/>
          </p:cNvSpPr>
          <p:nvPr>
            <p:ph sz="quarter" idx="11" hasCustomPrompt="1"/>
          </p:nvPr>
        </p:nvSpPr>
        <p:spPr>
          <a:xfrm>
            <a:off x="0" y="990600"/>
            <a:ext cx="11582400" cy="457200"/>
          </a:xfrm>
          <a:prstGeom prst="rect">
            <a:avLst/>
          </a:prstGeom>
        </p:spPr>
        <p:txBody>
          <a:bodyPr/>
          <a:lstStyle>
            <a:lvl1pPr marL="463550" indent="0">
              <a:tabLst/>
              <a:defRPr sz="2400" b="0" i="0">
                <a:solidFill>
                  <a:schemeClr val="accent1"/>
                </a:solidFill>
                <a:latin typeface="Work Sans" pitchFamily="2" charset="77"/>
              </a:defRPr>
            </a:lvl1pPr>
          </a:lstStyle>
          <a:p>
            <a:pPr lvl="0"/>
            <a:r>
              <a:rPr lang="en-US"/>
              <a:t>Subtitle</a:t>
            </a:r>
          </a:p>
        </p:txBody>
      </p:sp>
      <p:cxnSp>
        <p:nvCxnSpPr>
          <p:cNvPr id="5" name="Straight Connector 4">
            <a:extLst>
              <a:ext uri="{FF2B5EF4-FFF2-40B4-BE49-F238E27FC236}">
                <a16:creationId xmlns:a16="http://schemas.microsoft.com/office/drawing/2014/main" id="{487420CF-3151-8646-A12F-392774BFC63D}"/>
              </a:ext>
            </a:extLst>
          </p:cNvPr>
          <p:cNvCxnSpPr>
            <a:cxnSpLocks/>
          </p:cNvCxnSpPr>
          <p:nvPr userDrawn="1"/>
        </p:nvCxnSpPr>
        <p:spPr>
          <a:xfrm>
            <a:off x="0" y="914400"/>
            <a:ext cx="2438400" cy="0"/>
          </a:xfrm>
          <a:prstGeom prst="line">
            <a:avLst/>
          </a:prstGeom>
          <a:ln w="3810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356628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9" Type="http://schemas.openxmlformats.org/officeDocument/2006/relationships/image" Target="../media/image7.png"/><Relationship Id="rId21" Type="http://schemas.openxmlformats.org/officeDocument/2006/relationships/slideLayout" Target="../slideLayouts/slideLayout230.xml"/><Relationship Id="rId34" Type="http://schemas.openxmlformats.org/officeDocument/2006/relationships/slideLayout" Target="../slideLayouts/slideLayout243.xml"/><Relationship Id="rId7" Type="http://schemas.openxmlformats.org/officeDocument/2006/relationships/slideLayout" Target="../slideLayouts/slideLayout21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slideLayout" Target="../slideLayouts/slideLayout238.xml"/><Relationship Id="rId41" Type="http://schemas.openxmlformats.org/officeDocument/2006/relationships/image" Target="../media/image9.png"/><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32" Type="http://schemas.openxmlformats.org/officeDocument/2006/relationships/slideLayout" Target="../slideLayouts/slideLayout241.xml"/><Relationship Id="rId37" Type="http://schemas.openxmlformats.org/officeDocument/2006/relationships/image" Target="../media/image5.png"/><Relationship Id="rId40" Type="http://schemas.openxmlformats.org/officeDocument/2006/relationships/image" Target="../media/image8.png"/><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36" Type="http://schemas.openxmlformats.org/officeDocument/2006/relationships/theme" Target="../theme/theme10.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31" Type="http://schemas.openxmlformats.org/officeDocument/2006/relationships/slideLayout" Target="../slideLayouts/slideLayout240.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 Id="rId35" Type="http://schemas.openxmlformats.org/officeDocument/2006/relationships/slideLayout" Target="../slideLayouts/slideLayout244.xml"/><Relationship Id="rId8" Type="http://schemas.openxmlformats.org/officeDocument/2006/relationships/slideLayout" Target="../slideLayouts/slideLayout217.xml"/><Relationship Id="rId3" Type="http://schemas.openxmlformats.org/officeDocument/2006/relationships/slideLayout" Target="../slideLayouts/slideLayout212.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33" Type="http://schemas.openxmlformats.org/officeDocument/2006/relationships/slideLayout" Target="../slideLayouts/slideLayout242.xml"/><Relationship Id="rId38" Type="http://schemas.openxmlformats.org/officeDocument/2006/relationships/image" Target="../media/image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image" Target="../media/image5.png"/><Relationship Id="rId3" Type="http://schemas.openxmlformats.org/officeDocument/2006/relationships/slideLayout" Target="../slideLayouts/slideLayout247.xml"/><Relationship Id="rId21" Type="http://schemas.openxmlformats.org/officeDocument/2006/relationships/slideLayout" Target="../slideLayouts/slideLayout265.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theme" Target="../theme/theme11.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image" Target="../media/image9.png"/><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image" Target="../media/image7.png"/><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image" Target="../media/image6.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6.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2" Type="http://schemas.openxmlformats.org/officeDocument/2006/relationships/slideLayout" Target="../slideLayouts/slideLayout270.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theme" Target="../theme/theme12.xml"/><Relationship Id="rId5" Type="http://schemas.openxmlformats.org/officeDocument/2006/relationships/slideLayout" Target="../slideLayouts/slideLayout273.xml"/><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image" Target="../media/image7.png"/><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image" Target="../media/image5.png"/><Relationship Id="rId40" Type="http://schemas.openxmlformats.org/officeDocument/2006/relationships/image" Target="../media/image8.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heme" Target="../theme/theme3.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image" Target="../media/image7.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image" Target="../media/image6.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image" Target="../media/image5.png"/><Relationship Id="rId30"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image" Target="../media/image8.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heme" Target="../theme/theme4.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image" Target="../media/image7.pn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image" Target="../media/image6.png"/><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image" Target="../media/image5.png"/><Relationship Id="rId8"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image" Target="../media/image5.png"/><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theme" Target="../theme/theme5.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image" Target="../media/image9.png"/><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image" Target="../media/image7.png"/><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image" Target="../media/image8.png"/><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theme" Target="../theme/theme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image" Target="../media/image7.png"/><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image" Target="../media/image6.png"/><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image" Target="../media/image5.png"/><Relationship Id="rId8"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image" Target="../media/image70.png"/><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theme" Target="../theme/theme7.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image" Target="../media/image70.png"/><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theme" Target="../theme/theme8.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heme" Target="../theme/theme9.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B1D1CACC-0E69-0215-9F51-FD343AE272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270B8A6D-3300-A82A-8F62-6A3DE44D65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4452736F-2476-DE6D-4246-40475BDC8C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CC35965-6642-445B-AB06-F120E3D91191}" type="datetime1">
              <a:rPr lang="es-ES_tradnl" smtClean="0"/>
              <a:t>10/07/2024</a:t>
            </a:fld>
            <a:endParaRPr lang="es-CO"/>
          </a:p>
        </p:txBody>
      </p:sp>
      <p:sp>
        <p:nvSpPr>
          <p:cNvPr id="5" name="Marcador de pie de página 4">
            <a:extLst>
              <a:ext uri="{FF2B5EF4-FFF2-40B4-BE49-F238E27FC236}">
                <a16:creationId xmlns:a16="http://schemas.microsoft.com/office/drawing/2014/main" id="{3E98BD21-2F97-4402-A207-84CE23533D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CO"/>
          </a:p>
        </p:txBody>
      </p:sp>
      <p:sp>
        <p:nvSpPr>
          <p:cNvPr id="6" name="Marcador de número de diapositiva 5">
            <a:extLst>
              <a:ext uri="{FF2B5EF4-FFF2-40B4-BE49-F238E27FC236}">
                <a16:creationId xmlns:a16="http://schemas.microsoft.com/office/drawing/2014/main" id="{21739516-A0E4-965B-2082-308B043B2B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07FE009-00E8-46F4-960E-6E20957D4583}" type="slidenum">
              <a:rPr lang="es-CO" smtClean="0"/>
              <a:t>‹#›</a:t>
            </a:fld>
            <a:endParaRPr lang="es-CO"/>
          </a:p>
        </p:txBody>
      </p:sp>
    </p:spTree>
    <p:extLst>
      <p:ext uri="{BB962C8B-B14F-4D97-AF65-F5344CB8AC3E}">
        <p14:creationId xmlns:p14="http://schemas.microsoft.com/office/powerpoint/2010/main" val="9216711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7">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dirty="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40"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
        <p:nvSpPr>
          <p:cNvPr id="2" name="Rectángulo 1">
            <a:extLst>
              <a:ext uri="{FF2B5EF4-FFF2-40B4-BE49-F238E27FC236}">
                <a16:creationId xmlns:a16="http://schemas.microsoft.com/office/drawing/2014/main" id="{1F79DDBF-360C-3665-FC7A-3502A0AEA4B6}"/>
              </a:ext>
            </a:extLst>
          </p:cNvPr>
          <p:cNvSpPr/>
          <p:nvPr userDrawn="1"/>
        </p:nvSpPr>
        <p:spPr>
          <a:xfrm>
            <a:off x="60449" y="401030"/>
            <a:ext cx="567965" cy="276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419" dirty="0"/>
          </a:p>
        </p:txBody>
      </p:sp>
      <p:pic>
        <p:nvPicPr>
          <p:cNvPr id="4" name="Picture 6" descr="Princeton Review Online — Scholarship Gold Consulting, 45% OFF">
            <a:extLst>
              <a:ext uri="{FF2B5EF4-FFF2-40B4-BE49-F238E27FC236}">
                <a16:creationId xmlns:a16="http://schemas.microsoft.com/office/drawing/2014/main" id="{3B9F643D-1C3D-BA0B-BD70-5093EBFF7F6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auto">
          <a:xfrm>
            <a:off x="31878" y="248001"/>
            <a:ext cx="614809" cy="582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202782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36808"/>
            <a:ext cx="10550013" cy="798836"/>
          </a:xfrm>
          <a:prstGeom prst="rect">
            <a:avLst/>
          </a:prstGeom>
        </p:spPr>
        <p:txBody>
          <a:bodyPr vert="horz" lIns="91440" tIns="45720" rIns="91440" bIns="45720" rtlCol="0" anchor="ctr">
            <a:normAutofit/>
          </a:bodyPr>
          <a:lstStyle/>
          <a:p>
            <a:r>
              <a:rPr lang="es-MX"/>
              <a:t>Haz clic para modificar el estilo de título del patrón</a:t>
            </a:r>
            <a:endParaRPr lang="en-US"/>
          </a:p>
        </p:txBody>
      </p:sp>
      <p:pic>
        <p:nvPicPr>
          <p:cNvPr id="6" name="Imagen 5">
            <a:extLst>
              <a:ext uri="{FF2B5EF4-FFF2-40B4-BE49-F238E27FC236}">
                <a16:creationId xmlns:a16="http://schemas.microsoft.com/office/drawing/2014/main" id="{7A619830-EED1-B8FA-2085-F28BD01A58FA}"/>
              </a:ext>
            </a:extLst>
          </p:cNvPr>
          <p:cNvPicPr>
            <a:picLocks noChangeAspect="1"/>
          </p:cNvPicPr>
          <p:nvPr/>
        </p:nvPicPr>
        <p:blipFill rotWithShape="1">
          <a:blip r:embed="rId26">
            <a:extLst>
              <a:ext uri="{28A0092B-C50C-407E-A947-70E740481C1C}">
                <a14:useLocalDpi xmlns:a14="http://schemas.microsoft.com/office/drawing/2010/main" val="0"/>
              </a:ext>
            </a:extLst>
          </a:blip>
          <a:srcRect l="19022"/>
          <a:stretch/>
        </p:blipFill>
        <p:spPr>
          <a:xfrm>
            <a:off x="-19878" y="-73746"/>
            <a:ext cx="709114" cy="7005491"/>
          </a:xfrm>
          <a:prstGeom prst="rect">
            <a:avLst/>
          </a:prstGeom>
        </p:spPr>
      </p:pic>
      <p:sp>
        <p:nvSpPr>
          <p:cNvPr id="7" name="CuadroTexto 6">
            <a:extLst>
              <a:ext uri="{FF2B5EF4-FFF2-40B4-BE49-F238E27FC236}">
                <a16:creationId xmlns:a16="http://schemas.microsoft.com/office/drawing/2014/main" id="{8F037697-63C1-F258-AAFA-80267CB344C2}"/>
              </a:ext>
            </a:extLst>
          </p:cNvPr>
          <p:cNvSpPr txBox="1"/>
          <p:nvPr/>
        </p:nvSpPr>
        <p:spPr>
          <a:xfrm>
            <a:off x="68589"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dirty="0">
              <a:solidFill>
                <a:srgbClr val="BBC1C8"/>
              </a:solidFill>
              <a:latin typeface="Poppins" panose="00000500000000000000" pitchFamily="2" charset="0"/>
            </a:endParaRPr>
          </a:p>
        </p:txBody>
      </p:sp>
      <p:pic>
        <p:nvPicPr>
          <p:cNvPr id="9" name="Imagen 8">
            <a:extLst>
              <a:ext uri="{FF2B5EF4-FFF2-40B4-BE49-F238E27FC236}">
                <a16:creationId xmlns:a16="http://schemas.microsoft.com/office/drawing/2014/main" id="{CF2A1CFE-083A-7E30-E9BE-40F820CC369B}"/>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14641" y="5536094"/>
            <a:ext cx="228820" cy="749685"/>
          </a:xfrm>
          <a:prstGeom prst="rect">
            <a:avLst/>
          </a:prstGeom>
        </p:spPr>
      </p:pic>
      <p:pic>
        <p:nvPicPr>
          <p:cNvPr id="10" name="Imagen 9">
            <a:extLst>
              <a:ext uri="{FF2B5EF4-FFF2-40B4-BE49-F238E27FC236}">
                <a16:creationId xmlns:a16="http://schemas.microsoft.com/office/drawing/2014/main" id="{0B47389C-6D30-5650-19FA-099C4D394C38}"/>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rot="16200000">
            <a:off x="69748" y="6452047"/>
            <a:ext cx="403481" cy="546652"/>
          </a:xfrm>
          <a:prstGeom prst="rect">
            <a:avLst/>
          </a:prstGeom>
        </p:spPr>
      </p:pic>
      <p:sp>
        <p:nvSpPr>
          <p:cNvPr id="2" name="Rectángulo 1">
            <a:extLst>
              <a:ext uri="{FF2B5EF4-FFF2-40B4-BE49-F238E27FC236}">
                <a16:creationId xmlns:a16="http://schemas.microsoft.com/office/drawing/2014/main" id="{EF274895-29B7-6DA7-FA1C-6B3B6871F1DA}"/>
              </a:ext>
            </a:extLst>
          </p:cNvPr>
          <p:cNvSpPr/>
          <p:nvPr userDrawn="1"/>
        </p:nvSpPr>
        <p:spPr>
          <a:xfrm>
            <a:off x="43197" y="409656"/>
            <a:ext cx="567965" cy="276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419" dirty="0"/>
          </a:p>
        </p:txBody>
      </p:sp>
      <p:pic>
        <p:nvPicPr>
          <p:cNvPr id="2054" name="Picture 6" descr="Princeton Review Online — Scholarship Gold Consulting, 45% OFF">
            <a:extLst>
              <a:ext uri="{FF2B5EF4-FFF2-40B4-BE49-F238E27FC236}">
                <a16:creationId xmlns:a16="http://schemas.microsoft.com/office/drawing/2014/main" id="{4DD6D387-6D15-0549-0B03-D013D5409ED0}"/>
              </a:ext>
            </a:extLst>
          </p:cNvPr>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14626" y="256627"/>
            <a:ext cx="614809" cy="582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515375"/>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13" name="CuadroTexto 12">
            <a:extLst>
              <a:ext uri="{FF2B5EF4-FFF2-40B4-BE49-F238E27FC236}">
                <a16:creationId xmlns:a16="http://schemas.microsoft.com/office/drawing/2014/main" id="{A6EA92BD-D8A9-A258-6100-A8C69F9DF057}"/>
              </a:ext>
            </a:extLst>
          </p:cNvPr>
          <p:cNvSpPr txBox="1"/>
          <p:nvPr/>
        </p:nvSpPr>
        <p:spPr>
          <a:xfrm>
            <a:off x="3046912" y="3244334"/>
            <a:ext cx="6093822" cy="369332"/>
          </a:xfrm>
          <a:prstGeom prst="rect">
            <a:avLst/>
          </a:prstGeom>
          <a:noFill/>
        </p:spPr>
        <p:txBody>
          <a:bodyPr wrap="square">
            <a:spAutoFit/>
          </a:bodyPr>
          <a:lstStyle/>
          <a:p>
            <a:endParaRPr lang="es-CO" dirty="0">
              <a:latin typeface="Poppins" panose="00000500000000000000" pitchFamily="2" charset="0"/>
            </a:endParaRPr>
          </a:p>
        </p:txBody>
      </p:sp>
      <p:sp>
        <p:nvSpPr>
          <p:cNvPr id="3" name="CuadroTexto 2">
            <a:extLst>
              <a:ext uri="{FF2B5EF4-FFF2-40B4-BE49-F238E27FC236}">
                <a16:creationId xmlns:a16="http://schemas.microsoft.com/office/drawing/2014/main" id="{4D000E91-3B11-497E-5E8F-D1E2C3FA8C5C}"/>
              </a:ext>
            </a:extLst>
          </p:cNvPr>
          <p:cNvSpPr txBox="1"/>
          <p:nvPr/>
        </p:nvSpPr>
        <p:spPr>
          <a:xfrm>
            <a:off x="152421" y="6358830"/>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dirty="0">
              <a:solidFill>
                <a:srgbClr val="BBC1C8"/>
              </a:solidFill>
              <a:latin typeface="Poppins" panose="00000500000000000000" pitchFamily="2" charset="0"/>
            </a:endParaRPr>
          </a:p>
        </p:txBody>
      </p:sp>
    </p:spTree>
    <p:extLst>
      <p:ext uri="{BB962C8B-B14F-4D97-AF65-F5344CB8AC3E}">
        <p14:creationId xmlns:p14="http://schemas.microsoft.com/office/powerpoint/2010/main" val="4023518665"/>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Lst>
  <p:hf sldNum="0" hdr="0" ftr="0"/>
  <p:txStyles>
    <p:titleStyle>
      <a:lvl1pPr algn="l" defTabSz="914400" rtl="0" eaLnBrk="1" latinLnBrk="0" hangingPunct="1">
        <a:lnSpc>
          <a:spcPct val="90000"/>
        </a:lnSpc>
        <a:spcBef>
          <a:spcPct val="0"/>
        </a:spcBef>
        <a:buNone/>
        <a:defRPr sz="1400" b="0" i="0" kern="1200">
          <a:solidFill>
            <a:schemeClr val="tx1">
              <a:lumMod val="40000"/>
              <a:lumOff val="6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7">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dirty="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40"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
        <p:nvSpPr>
          <p:cNvPr id="2" name="Rectángulo 1">
            <a:extLst>
              <a:ext uri="{FF2B5EF4-FFF2-40B4-BE49-F238E27FC236}">
                <a16:creationId xmlns:a16="http://schemas.microsoft.com/office/drawing/2014/main" id="{1F79DDBF-360C-3665-FC7A-3502A0AEA4B6}"/>
              </a:ext>
            </a:extLst>
          </p:cNvPr>
          <p:cNvSpPr/>
          <p:nvPr userDrawn="1"/>
        </p:nvSpPr>
        <p:spPr>
          <a:xfrm>
            <a:off x="60449" y="401030"/>
            <a:ext cx="567965" cy="276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419" dirty="0"/>
          </a:p>
        </p:txBody>
      </p:sp>
      <p:pic>
        <p:nvPicPr>
          <p:cNvPr id="4" name="Picture 6" descr="Princeton Review Online — Scholarship Gold Consulting, 45% OFF">
            <a:extLst>
              <a:ext uri="{FF2B5EF4-FFF2-40B4-BE49-F238E27FC236}">
                <a16:creationId xmlns:a16="http://schemas.microsoft.com/office/drawing/2014/main" id="{3B9F643D-1C3D-BA0B-BD70-5093EBFF7F68}"/>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rcRect/>
          <a:stretch>
            <a:fillRect/>
          </a:stretch>
        </p:blipFill>
        <p:spPr bwMode="auto">
          <a:xfrm>
            <a:off x="31878" y="248001"/>
            <a:ext cx="614809" cy="582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4666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904" r:id="rId35"/>
  </p:sldLayoutIdLst>
  <p:hf sldNum="0" hdr="0" ftr="0" dt="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27">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s-CO"/>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sp>
        <p:nvSpPr>
          <p:cNvPr id="3" name="Picture Placeholder 3">
            <a:extLst>
              <a:ext uri="{FF2B5EF4-FFF2-40B4-BE49-F238E27FC236}">
                <a16:creationId xmlns:a16="http://schemas.microsoft.com/office/drawing/2014/main" id="{59DF720C-1289-AE59-F9A7-CC99DA8AB7CC}"/>
              </a:ext>
            </a:extLst>
          </p:cNvPr>
          <p:cNvSpPr txBox="1">
            <a:spLocks/>
          </p:cNvSpPr>
          <p:nvPr userDrawn="1"/>
        </p:nvSpPr>
        <p:spPr>
          <a:xfrm>
            <a:off x="88965" y="256186"/>
            <a:ext cx="450715" cy="420241"/>
          </a:xfrm>
          <a:prstGeom prst="rect">
            <a:avLst/>
          </a:prstGeom>
          <a:solidFill>
            <a:srgbClr val="FFFFFF"/>
          </a:solidFill>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O" sz="800"/>
              <a:t>Logo </a:t>
            </a:r>
            <a:r>
              <a:rPr lang="es-CO" sz="800" err="1"/>
              <a:t>here</a:t>
            </a:r>
            <a:endParaRPr lang="es-CO" sz="800"/>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0"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75821872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2" r:id="rId22"/>
    <p:sldLayoutId id="2147483733" r:id="rId23"/>
    <p:sldLayoutId id="2147483734" r:id="rId24"/>
    <p:sldLayoutId id="2147483735" r:id="rId25"/>
  </p:sldLayoutIdLst>
  <p:hf sldNum="0" hdr="0" ftr="0" dt="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0">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dirty="0">
              <a:solidFill>
                <a:srgbClr val="BBC1C8"/>
              </a:solidFill>
              <a:latin typeface="Poppins" panose="00000500000000000000" pitchFamily="2" charset="0"/>
            </a:endParaRPr>
          </a:p>
        </p:txBody>
      </p:sp>
      <p:sp>
        <p:nvSpPr>
          <p:cNvPr id="3" name="Picture Placeholder 3">
            <a:extLst>
              <a:ext uri="{FF2B5EF4-FFF2-40B4-BE49-F238E27FC236}">
                <a16:creationId xmlns:a16="http://schemas.microsoft.com/office/drawing/2014/main" id="{59DF720C-1289-AE59-F9A7-CC99DA8AB7CC}"/>
              </a:ext>
            </a:extLst>
          </p:cNvPr>
          <p:cNvSpPr txBox="1">
            <a:spLocks/>
          </p:cNvSpPr>
          <p:nvPr userDrawn="1"/>
        </p:nvSpPr>
        <p:spPr>
          <a:xfrm>
            <a:off x="88965" y="256186"/>
            <a:ext cx="450715" cy="420241"/>
          </a:xfrm>
          <a:prstGeom prst="rect">
            <a:avLst/>
          </a:prstGeom>
          <a:solidFill>
            <a:srgbClr val="FFFFFF"/>
          </a:solidFill>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800" dirty="0"/>
              <a:t>Logo here</a:t>
            </a:r>
            <a:endParaRPr lang="es-CO" sz="800" dirty="0"/>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3"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2011862535"/>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9" r:id="rId22"/>
    <p:sldLayoutId id="2147483760" r:id="rId23"/>
    <p:sldLayoutId id="2147483761" r:id="rId24"/>
    <p:sldLayoutId id="2147483762" r:id="rId25"/>
    <p:sldLayoutId id="2147483763" r:id="rId26"/>
    <p:sldLayoutId id="2147483764" r:id="rId27"/>
    <p:sldLayoutId id="2147483765" r:id="rId28"/>
  </p:sldLayoutIdLst>
  <p:hf sldNum="0" hdr="0" ftr="0" dt="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36808"/>
            <a:ext cx="10550013" cy="798836"/>
          </a:xfrm>
          <a:prstGeom prst="rect">
            <a:avLst/>
          </a:prstGeom>
        </p:spPr>
        <p:txBody>
          <a:bodyPr vert="horz" lIns="91440" tIns="45720" rIns="91440" bIns="45720" rtlCol="0" anchor="ctr">
            <a:normAutofit/>
          </a:bodyPr>
          <a:lstStyle/>
          <a:p>
            <a:r>
              <a:rPr lang="es-MX"/>
              <a:t>Haz clic para modificar el estilo de título del patrón</a:t>
            </a:r>
            <a:endParaRPr lang="en-US"/>
          </a:p>
        </p:txBody>
      </p:sp>
      <p:pic>
        <p:nvPicPr>
          <p:cNvPr id="6" name="Imagen 5">
            <a:extLst>
              <a:ext uri="{FF2B5EF4-FFF2-40B4-BE49-F238E27FC236}">
                <a16:creationId xmlns:a16="http://schemas.microsoft.com/office/drawing/2014/main" id="{7A619830-EED1-B8FA-2085-F28BD01A58FA}"/>
              </a:ext>
            </a:extLst>
          </p:cNvPr>
          <p:cNvPicPr>
            <a:picLocks noChangeAspect="1"/>
          </p:cNvPicPr>
          <p:nvPr/>
        </p:nvPicPr>
        <p:blipFill rotWithShape="1">
          <a:blip r:embed="rId26">
            <a:extLst>
              <a:ext uri="{28A0092B-C50C-407E-A947-70E740481C1C}">
                <a14:useLocalDpi xmlns:a14="http://schemas.microsoft.com/office/drawing/2010/main" val="0"/>
              </a:ext>
            </a:extLst>
          </a:blip>
          <a:srcRect l="19022"/>
          <a:stretch/>
        </p:blipFill>
        <p:spPr>
          <a:xfrm>
            <a:off x="-19878" y="-73746"/>
            <a:ext cx="709114" cy="7005491"/>
          </a:xfrm>
          <a:prstGeom prst="rect">
            <a:avLst/>
          </a:prstGeom>
        </p:spPr>
      </p:pic>
      <p:sp>
        <p:nvSpPr>
          <p:cNvPr id="7" name="CuadroTexto 6">
            <a:extLst>
              <a:ext uri="{FF2B5EF4-FFF2-40B4-BE49-F238E27FC236}">
                <a16:creationId xmlns:a16="http://schemas.microsoft.com/office/drawing/2014/main" id="{8F037697-63C1-F258-AAFA-80267CB344C2}"/>
              </a:ext>
            </a:extLst>
          </p:cNvPr>
          <p:cNvSpPr txBox="1"/>
          <p:nvPr/>
        </p:nvSpPr>
        <p:spPr>
          <a:xfrm>
            <a:off x="68589"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dirty="0">
              <a:solidFill>
                <a:srgbClr val="BBC1C8"/>
              </a:solidFill>
              <a:latin typeface="Poppins" panose="00000500000000000000" pitchFamily="2" charset="0"/>
            </a:endParaRPr>
          </a:p>
        </p:txBody>
      </p:sp>
      <p:pic>
        <p:nvPicPr>
          <p:cNvPr id="9" name="Imagen 8">
            <a:extLst>
              <a:ext uri="{FF2B5EF4-FFF2-40B4-BE49-F238E27FC236}">
                <a16:creationId xmlns:a16="http://schemas.microsoft.com/office/drawing/2014/main" id="{CF2A1CFE-083A-7E30-E9BE-40F820CC369B}"/>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14641" y="5536094"/>
            <a:ext cx="228820" cy="749685"/>
          </a:xfrm>
          <a:prstGeom prst="rect">
            <a:avLst/>
          </a:prstGeom>
        </p:spPr>
      </p:pic>
      <p:pic>
        <p:nvPicPr>
          <p:cNvPr id="10" name="Imagen 9">
            <a:extLst>
              <a:ext uri="{FF2B5EF4-FFF2-40B4-BE49-F238E27FC236}">
                <a16:creationId xmlns:a16="http://schemas.microsoft.com/office/drawing/2014/main" id="{0B47389C-6D30-5650-19FA-099C4D394C38}"/>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rot="16200000">
            <a:off x="69748" y="6452047"/>
            <a:ext cx="403481" cy="546652"/>
          </a:xfrm>
          <a:prstGeom prst="rect">
            <a:avLst/>
          </a:prstGeom>
        </p:spPr>
      </p:pic>
      <p:sp>
        <p:nvSpPr>
          <p:cNvPr id="2" name="Rectángulo 1">
            <a:extLst>
              <a:ext uri="{FF2B5EF4-FFF2-40B4-BE49-F238E27FC236}">
                <a16:creationId xmlns:a16="http://schemas.microsoft.com/office/drawing/2014/main" id="{EF274895-29B7-6DA7-FA1C-6B3B6871F1DA}"/>
              </a:ext>
            </a:extLst>
          </p:cNvPr>
          <p:cNvSpPr/>
          <p:nvPr userDrawn="1"/>
        </p:nvSpPr>
        <p:spPr>
          <a:xfrm>
            <a:off x="43197" y="409656"/>
            <a:ext cx="567965" cy="2760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419" dirty="0"/>
          </a:p>
        </p:txBody>
      </p:sp>
      <p:pic>
        <p:nvPicPr>
          <p:cNvPr id="2054" name="Picture 6" descr="Princeton Review Online — Scholarship Gold Consulting, 45% OFF">
            <a:extLst>
              <a:ext uri="{FF2B5EF4-FFF2-40B4-BE49-F238E27FC236}">
                <a16:creationId xmlns:a16="http://schemas.microsoft.com/office/drawing/2014/main" id="{4DD6D387-6D15-0549-0B03-D013D5409ED0}"/>
              </a:ext>
            </a:extLst>
          </p:cNvPr>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14626" y="256627"/>
            <a:ext cx="614809" cy="582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100410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Lst>
  <p:hf sldNum="0" hdr="0" ftr="0" dt="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0">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dirty="0">
              <a:solidFill>
                <a:srgbClr val="BBC1C8"/>
              </a:solidFill>
              <a:latin typeface="Poppins" panose="00000500000000000000" pitchFamily="2" charset="0"/>
            </a:endParaRPr>
          </a:p>
        </p:txBody>
      </p:sp>
      <p:sp>
        <p:nvSpPr>
          <p:cNvPr id="3" name="Picture Placeholder 3">
            <a:extLst>
              <a:ext uri="{FF2B5EF4-FFF2-40B4-BE49-F238E27FC236}">
                <a16:creationId xmlns:a16="http://schemas.microsoft.com/office/drawing/2014/main" id="{59DF720C-1289-AE59-F9A7-CC99DA8AB7CC}"/>
              </a:ext>
            </a:extLst>
          </p:cNvPr>
          <p:cNvSpPr txBox="1">
            <a:spLocks/>
          </p:cNvSpPr>
          <p:nvPr userDrawn="1"/>
        </p:nvSpPr>
        <p:spPr>
          <a:xfrm>
            <a:off x="88965" y="256186"/>
            <a:ext cx="450715" cy="420241"/>
          </a:xfrm>
          <a:prstGeom prst="rect">
            <a:avLst/>
          </a:prstGeom>
          <a:solidFill>
            <a:srgbClr val="FFFFFF"/>
          </a:solidFill>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800" dirty="0"/>
              <a:t>Logo here</a:t>
            </a:r>
            <a:endParaRPr lang="es-CO" sz="800" dirty="0"/>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3"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1180034722"/>
      </p:ext>
    </p:extLst>
  </p:cSld>
  <p:clrMap bg1="lt1" tx1="dk1" bg2="lt2" tx2="dk2" accent1="accent1" accent2="accent2" accent3="accent3" accent4="accent4" accent5="accent5" accent6="accent6" hlink="hlink" folHlink="folHlink"/>
  <p:sldLayoutIdLst>
    <p:sldLayoutId id="2147483813"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40" r:id="rId26"/>
    <p:sldLayoutId id="2147483841" r:id="rId27"/>
    <p:sldLayoutId id="2147483977" r:id="rId28"/>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85663051-F24C-2005-848F-BCFFB5CCA770}"/>
              </a:ext>
            </a:extLst>
          </p:cNvPr>
          <p:cNvSpPr/>
          <p:nvPr userDrawn="1"/>
        </p:nvSpPr>
        <p:spPr>
          <a:xfrm>
            <a:off x="0" y="0"/>
            <a:ext cx="628646" cy="6858000"/>
          </a:xfrm>
          <a:prstGeom prst="rect">
            <a:avLst/>
          </a:prstGeom>
          <a:gradFill flip="none" rotWithShape="1">
            <a:gsLst>
              <a:gs pos="0">
                <a:srgbClr val="40009E">
                  <a:shade val="30000"/>
                  <a:satMod val="115000"/>
                </a:srgbClr>
              </a:gs>
              <a:gs pos="50000">
                <a:srgbClr val="40009E">
                  <a:shade val="67500"/>
                  <a:satMod val="115000"/>
                </a:srgbClr>
              </a:gs>
              <a:gs pos="100000">
                <a:srgbClr val="40009E">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36808"/>
            <a:ext cx="10550013" cy="798836"/>
          </a:xfrm>
          <a:prstGeom prst="rect">
            <a:avLst/>
          </a:prstGeom>
        </p:spPr>
        <p:txBody>
          <a:bodyPr vert="horz" lIns="91440" tIns="45720" rIns="91440" bIns="45720" rtlCol="0" anchor="ctr">
            <a:normAutofit/>
          </a:body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78530" y="6377303"/>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pic>
        <p:nvPicPr>
          <p:cNvPr id="2" name="Imagen 1" descr="Icono&#10;&#10;Descripción generada automáticamente con confianza media">
            <a:extLst>
              <a:ext uri="{FF2B5EF4-FFF2-40B4-BE49-F238E27FC236}">
                <a16:creationId xmlns:a16="http://schemas.microsoft.com/office/drawing/2014/main" id="{D8C8AE5B-8BEE-B3F3-91A8-8103DA8F2BFD}"/>
              </a:ext>
            </a:extLst>
          </p:cNvPr>
          <p:cNvPicPr>
            <a:picLocks noChangeAspect="1"/>
          </p:cNvPicPr>
          <p:nvPr userDrawn="1"/>
        </p:nvPicPr>
        <p:blipFill>
          <a:blip r:embed="rId24" cstate="print">
            <a:biLevel thresh="25000"/>
            <a:extLst>
              <a:ext uri="{28A0092B-C50C-407E-A947-70E740481C1C}">
                <a14:useLocalDpi xmlns:a14="http://schemas.microsoft.com/office/drawing/2010/main" val="0"/>
              </a:ext>
            </a:extLst>
          </a:blip>
          <a:stretch>
            <a:fillRect/>
          </a:stretch>
        </p:blipFill>
        <p:spPr>
          <a:xfrm rot="16200000">
            <a:off x="28994" y="5909800"/>
            <a:ext cx="575295" cy="134562"/>
          </a:xfrm>
          <a:prstGeom prst="rect">
            <a:avLst/>
          </a:prstGeom>
        </p:spPr>
      </p:pic>
    </p:spTree>
    <p:extLst>
      <p:ext uri="{BB962C8B-B14F-4D97-AF65-F5344CB8AC3E}">
        <p14:creationId xmlns:p14="http://schemas.microsoft.com/office/powerpoint/2010/main" val="1265566180"/>
      </p:ext>
    </p:extLst>
  </p:cSld>
  <p:clrMap bg1="lt1" tx1="dk1" bg2="lt2" tx2="dk2" accent1="accent1" accent2="accent2" accent3="accent3" accent4="accent4" accent5="accent5" accent6="accent6" hlink="hlink" folHlink="folHlink"/>
  <p:sldLayoutIdLst>
    <p:sldLayoutId id="2147483843"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85663051-F24C-2005-848F-BCFFB5CCA770}"/>
              </a:ext>
            </a:extLst>
          </p:cNvPr>
          <p:cNvSpPr/>
          <p:nvPr userDrawn="1"/>
        </p:nvSpPr>
        <p:spPr>
          <a:xfrm>
            <a:off x="0" y="0"/>
            <a:ext cx="628646" cy="6858000"/>
          </a:xfrm>
          <a:prstGeom prst="rect">
            <a:avLst/>
          </a:prstGeom>
          <a:gradFill flip="none" rotWithShape="1">
            <a:gsLst>
              <a:gs pos="0">
                <a:srgbClr val="40009E">
                  <a:shade val="30000"/>
                  <a:satMod val="115000"/>
                </a:srgbClr>
              </a:gs>
              <a:gs pos="50000">
                <a:srgbClr val="40009E">
                  <a:shade val="67500"/>
                  <a:satMod val="115000"/>
                </a:srgbClr>
              </a:gs>
              <a:gs pos="100000">
                <a:srgbClr val="40009E">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36808"/>
            <a:ext cx="10550013" cy="798836"/>
          </a:xfrm>
          <a:prstGeom prst="rect">
            <a:avLst/>
          </a:prstGeom>
        </p:spPr>
        <p:txBody>
          <a:bodyPr vert="horz" lIns="91440" tIns="45720" rIns="91440" bIns="45720" rtlCol="0" anchor="ctr">
            <a:normAutofit/>
          </a:bodyP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78530" y="6377303"/>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pic>
        <p:nvPicPr>
          <p:cNvPr id="2" name="Imagen 1" descr="Icono&#10;&#10;Descripción generada automáticamente con confianza media">
            <a:extLst>
              <a:ext uri="{FF2B5EF4-FFF2-40B4-BE49-F238E27FC236}">
                <a16:creationId xmlns:a16="http://schemas.microsoft.com/office/drawing/2014/main" id="{D8C8AE5B-8BEE-B3F3-91A8-8103DA8F2BFD}"/>
              </a:ext>
            </a:extLst>
          </p:cNvPr>
          <p:cNvPicPr>
            <a:picLocks noChangeAspect="1"/>
          </p:cNvPicPr>
          <p:nvPr userDrawn="1"/>
        </p:nvPicPr>
        <p:blipFill>
          <a:blip r:embed="rId24" cstate="print">
            <a:biLevel thresh="25000"/>
            <a:extLst>
              <a:ext uri="{28A0092B-C50C-407E-A947-70E740481C1C}">
                <a14:useLocalDpi xmlns:a14="http://schemas.microsoft.com/office/drawing/2010/main" val="0"/>
              </a:ext>
            </a:extLst>
          </a:blip>
          <a:stretch>
            <a:fillRect/>
          </a:stretch>
        </p:blipFill>
        <p:spPr>
          <a:xfrm rot="16200000">
            <a:off x="28994" y="5909800"/>
            <a:ext cx="575295" cy="134562"/>
          </a:xfrm>
          <a:prstGeom prst="rect">
            <a:avLst/>
          </a:prstGeom>
        </p:spPr>
      </p:pic>
    </p:spTree>
    <p:extLst>
      <p:ext uri="{BB962C8B-B14F-4D97-AF65-F5344CB8AC3E}">
        <p14:creationId xmlns:p14="http://schemas.microsoft.com/office/powerpoint/2010/main" val="4196404289"/>
      </p:ext>
    </p:extLst>
  </p:cSld>
  <p:clrMap bg1="lt1" tx1="dk1" bg2="lt2" tx2="dk2" accent1="accent1" accent2="accent2" accent3="accent3" accent4="accent4" accent5="accent5" accent6="accent6" hlink="hlink" folHlink="folHlink"/>
  <p:sldLayoutIdLst>
    <p:sldLayoutId id="2147483867"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13" name="CuadroTexto 12">
            <a:extLst>
              <a:ext uri="{FF2B5EF4-FFF2-40B4-BE49-F238E27FC236}">
                <a16:creationId xmlns:a16="http://schemas.microsoft.com/office/drawing/2014/main" id="{A6EA92BD-D8A9-A258-6100-A8C69F9DF057}"/>
              </a:ext>
            </a:extLst>
          </p:cNvPr>
          <p:cNvSpPr txBox="1"/>
          <p:nvPr/>
        </p:nvSpPr>
        <p:spPr>
          <a:xfrm>
            <a:off x="3046912" y="3244334"/>
            <a:ext cx="6093822" cy="369332"/>
          </a:xfrm>
          <a:prstGeom prst="rect">
            <a:avLst/>
          </a:prstGeom>
          <a:noFill/>
        </p:spPr>
        <p:txBody>
          <a:bodyPr wrap="square">
            <a:spAutoFit/>
          </a:bodyPr>
          <a:lstStyle/>
          <a:p>
            <a:endParaRPr lang="es-CO">
              <a:latin typeface="Poppins" panose="00000500000000000000" pitchFamily="2" charset="0"/>
            </a:endParaRPr>
          </a:p>
        </p:txBody>
      </p:sp>
      <p:sp>
        <p:nvSpPr>
          <p:cNvPr id="3" name="CuadroTexto 2">
            <a:extLst>
              <a:ext uri="{FF2B5EF4-FFF2-40B4-BE49-F238E27FC236}">
                <a16:creationId xmlns:a16="http://schemas.microsoft.com/office/drawing/2014/main" id="{4D000E91-3B11-497E-5E8F-D1E2C3FA8C5C}"/>
              </a:ext>
            </a:extLst>
          </p:cNvPr>
          <p:cNvSpPr txBox="1"/>
          <p:nvPr userDrawn="1"/>
        </p:nvSpPr>
        <p:spPr>
          <a:xfrm>
            <a:off x="152421" y="6358830"/>
            <a:ext cx="476225" cy="215444"/>
          </a:xfrm>
          <a:prstGeom prst="rect">
            <a:avLst/>
          </a:prstGeom>
          <a:noFill/>
        </p:spPr>
        <p:txBody>
          <a:bodyPr wrap="square" rtlCol="0">
            <a:spAutoFit/>
          </a:bodyPr>
          <a:lstStyle/>
          <a:p>
            <a:pPr algn="ctr"/>
            <a:fld id="{FCB3D6B4-27BA-497C-95E2-6025F3A9E3F0}" type="slidenum">
              <a:rPr lang="es-CO" sz="800" smtClean="0">
                <a:solidFill>
                  <a:srgbClr val="BBC1C8"/>
                </a:solidFill>
                <a:latin typeface="Poppins" panose="00000500000000000000" pitchFamily="2" charset="0"/>
              </a:rPr>
              <a:pPr algn="ctr"/>
              <a:t>‹#›</a:t>
            </a:fld>
            <a:endParaRPr lang="es-CO" sz="800">
              <a:solidFill>
                <a:srgbClr val="BBC1C8"/>
              </a:solidFill>
              <a:latin typeface="Poppins" panose="00000500000000000000" pitchFamily="2" charset="0"/>
            </a:endParaRPr>
          </a:p>
        </p:txBody>
      </p:sp>
    </p:spTree>
    <p:extLst>
      <p:ext uri="{BB962C8B-B14F-4D97-AF65-F5344CB8AC3E}">
        <p14:creationId xmlns:p14="http://schemas.microsoft.com/office/powerpoint/2010/main" val="3224589169"/>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3" r:id="rId12"/>
  </p:sldLayoutIdLst>
  <p:hf sldNum="0" hdr="0" ftr="0"/>
  <p:txStyles>
    <p:titleStyle>
      <a:lvl1pPr algn="l" defTabSz="914400" rtl="0" eaLnBrk="1" latinLnBrk="0" hangingPunct="1">
        <a:lnSpc>
          <a:spcPct val="90000"/>
        </a:lnSpc>
        <a:spcBef>
          <a:spcPct val="0"/>
        </a:spcBef>
        <a:buNone/>
        <a:defRPr sz="1400" b="0" i="0" kern="1200">
          <a:solidFill>
            <a:schemeClr val="tx1">
              <a:lumMod val="40000"/>
              <a:lumOff val="6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xml"/><Relationship Id="rId1" Type="http://schemas.openxmlformats.org/officeDocument/2006/relationships/slideLayout" Target="../slideLayouts/slideLayout98.xml"/><Relationship Id="rId5" Type="http://schemas.openxmlformats.org/officeDocument/2006/relationships/image" Target="../media/image102.png"/><Relationship Id="rId4" Type="http://schemas.openxmlformats.org/officeDocument/2006/relationships/image" Target="../media/image101.png"/></Relationships>
</file>

<file path=ppt/slides/_rels/slide1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91.jpeg"/><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88.svg"/><Relationship Id="rId7" Type="http://schemas.openxmlformats.org/officeDocument/2006/relationships/image" Target="../media/image105.svg"/><Relationship Id="rId2" Type="http://schemas.openxmlformats.org/officeDocument/2006/relationships/image" Target="../media/image87.png"/><Relationship Id="rId1" Type="http://schemas.openxmlformats.org/officeDocument/2006/relationships/slideLayout" Target="../slideLayouts/slideLayout44.xml"/><Relationship Id="rId6" Type="http://schemas.openxmlformats.org/officeDocument/2006/relationships/image" Target="../media/image104.png"/><Relationship Id="rId5" Type="http://schemas.openxmlformats.org/officeDocument/2006/relationships/hyperlink" Target="https://www.mastercard.us/content/dam/public/mastercardcom/na/us/en/documents/business-payments-2022-whitepaper.pdf" TargetMode="External"/><Relationship Id="rId4" Type="http://schemas.openxmlformats.org/officeDocument/2006/relationships/image" Target="../media/image91.jpeg"/><Relationship Id="rId9" Type="http://schemas.openxmlformats.org/officeDocument/2006/relationships/image" Target="../media/image107.svg"/></Relationships>
</file>

<file path=ppt/slides/_rels/slide1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7.xml"/><Relationship Id="rId1" Type="http://schemas.openxmlformats.org/officeDocument/2006/relationships/slideLayout" Target="../slideLayouts/slideLayout150.xml"/><Relationship Id="rId4" Type="http://schemas.openxmlformats.org/officeDocument/2006/relationships/image" Target="../media/image108.png"/></Relationships>
</file>

<file path=ppt/slides/_rels/slide14.xml.rels><?xml version="1.0" encoding="UTF-8" standalone="yes"?>
<Relationships xmlns="http://schemas.openxmlformats.org/package/2006/relationships"><Relationship Id="rId8" Type="http://schemas.openxmlformats.org/officeDocument/2006/relationships/image" Target="../media/image88.svg"/><Relationship Id="rId13" Type="http://schemas.openxmlformats.org/officeDocument/2006/relationships/image" Target="../media/image112.png"/><Relationship Id="rId18" Type="http://schemas.openxmlformats.org/officeDocument/2006/relationships/image" Target="../media/image116.png"/><Relationship Id="rId26" Type="http://schemas.openxmlformats.org/officeDocument/2006/relationships/image" Target="../media/image124.png"/><Relationship Id="rId3" Type="http://schemas.microsoft.com/office/2007/relationships/media" Target="../media/media2.m4a"/><Relationship Id="rId21" Type="http://schemas.openxmlformats.org/officeDocument/2006/relationships/image" Target="../media/image119.png"/><Relationship Id="rId7" Type="http://schemas.openxmlformats.org/officeDocument/2006/relationships/image" Target="../media/image87.png"/><Relationship Id="rId12" Type="http://schemas.openxmlformats.org/officeDocument/2006/relationships/image" Target="../media/image111.png"/><Relationship Id="rId17" Type="http://schemas.openxmlformats.org/officeDocument/2006/relationships/image" Target="../media/image115.png"/><Relationship Id="rId25" Type="http://schemas.openxmlformats.org/officeDocument/2006/relationships/image" Target="../media/image123.png"/><Relationship Id="rId2" Type="http://schemas.microsoft.com/office/2007/relationships/media" Target="../media/media1.m4a"/><Relationship Id="rId16" Type="http://schemas.openxmlformats.org/officeDocument/2006/relationships/image" Target="../media/image114.png"/><Relationship Id="rId20" Type="http://schemas.openxmlformats.org/officeDocument/2006/relationships/image" Target="../media/image118.png"/><Relationship Id="rId1" Type="http://schemas.openxmlformats.org/officeDocument/2006/relationships/audio" Target="NULL" TargetMode="External"/><Relationship Id="rId6" Type="http://schemas.openxmlformats.org/officeDocument/2006/relationships/slideLayout" Target="../slideLayouts/slideLayout44.xml"/><Relationship Id="rId11" Type="http://schemas.openxmlformats.org/officeDocument/2006/relationships/image" Target="../media/image110.png"/><Relationship Id="rId24" Type="http://schemas.openxmlformats.org/officeDocument/2006/relationships/image" Target="../media/image122.png"/><Relationship Id="rId5" Type="http://schemas.microsoft.com/office/2007/relationships/media" Target="../media/media4.m4a"/><Relationship Id="rId15" Type="http://schemas.openxmlformats.org/officeDocument/2006/relationships/image" Target="../media/image113.png"/><Relationship Id="rId23" Type="http://schemas.openxmlformats.org/officeDocument/2006/relationships/image" Target="../media/image121.png"/><Relationship Id="rId10" Type="http://schemas.openxmlformats.org/officeDocument/2006/relationships/image" Target="../media/image109.png"/><Relationship Id="rId19" Type="http://schemas.openxmlformats.org/officeDocument/2006/relationships/image" Target="../media/image117.png"/><Relationship Id="rId4" Type="http://schemas.microsoft.com/office/2007/relationships/media" Target="../media/media3.m4a"/><Relationship Id="rId9" Type="http://schemas.openxmlformats.org/officeDocument/2006/relationships/image" Target="../media/image91.jpeg"/><Relationship Id="rId14" Type="http://schemas.microsoft.com/office/2007/relationships/hdphoto" Target="../media/hdphoto6.wdp"/><Relationship Id="rId22" Type="http://schemas.openxmlformats.org/officeDocument/2006/relationships/image" Target="../media/image120.png"/><Relationship Id="rId27" Type="http://schemas.openxmlformats.org/officeDocument/2006/relationships/image" Target="../media/image125.png"/></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17.png"/><Relationship Id="rId3" Type="http://schemas.microsoft.com/office/2007/relationships/media" Target="../media/media6.mp3"/><Relationship Id="rId7" Type="http://schemas.microsoft.com/office/2007/relationships/media" Target="../media/media10.mp3"/><Relationship Id="rId12" Type="http://schemas.openxmlformats.org/officeDocument/2006/relationships/image" Target="../media/image128.png"/><Relationship Id="rId2" Type="http://schemas.microsoft.com/office/2007/relationships/media" Target="../media/media5.mp3"/><Relationship Id="rId1" Type="http://schemas.openxmlformats.org/officeDocument/2006/relationships/audio" Target="NULL" TargetMode="External"/><Relationship Id="rId6" Type="http://schemas.microsoft.com/office/2007/relationships/media" Target="../media/media9.mp3"/><Relationship Id="rId11" Type="http://schemas.openxmlformats.org/officeDocument/2006/relationships/image" Target="../media/image127.png"/><Relationship Id="rId5" Type="http://schemas.microsoft.com/office/2007/relationships/media" Target="../media/media8.mp3"/><Relationship Id="rId10" Type="http://schemas.openxmlformats.org/officeDocument/2006/relationships/image" Target="../media/image126.png"/><Relationship Id="rId4" Type="http://schemas.microsoft.com/office/2007/relationships/media" Target="../media/media7.mp3"/><Relationship Id="rId9" Type="http://schemas.openxmlformats.org/officeDocument/2006/relationships/notesSlide" Target="../notesSlides/notesSlide8.xml"/><Relationship Id="rId14" Type="http://schemas.openxmlformats.org/officeDocument/2006/relationships/image" Target="../media/image91.jpeg"/></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9.xml"/><Relationship Id="rId1" Type="http://schemas.openxmlformats.org/officeDocument/2006/relationships/slideLayout" Target="../slideLayouts/slideLayout150.xml"/><Relationship Id="rId4" Type="http://schemas.openxmlformats.org/officeDocument/2006/relationships/image" Target="../media/image129.png"/></Relationships>
</file>

<file path=ppt/slides/_rels/slide1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1.xml"/><Relationship Id="rId1" Type="http://schemas.openxmlformats.org/officeDocument/2006/relationships/slideLayout" Target="../slideLayouts/slideLayout153.xml"/></Relationships>
</file>

<file path=ppt/slides/_rels/slide19.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44.xml"/><Relationship Id="rId4" Type="http://schemas.openxmlformats.org/officeDocument/2006/relationships/image" Target="../media/image91.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39.xml"/><Relationship Id="rId6" Type="http://schemas.openxmlformats.org/officeDocument/2006/relationships/image" Target="../media/image91.jpeg"/><Relationship Id="rId5" Type="http://schemas.openxmlformats.org/officeDocument/2006/relationships/image" Target="../media/image133.png"/><Relationship Id="rId4" Type="http://schemas.openxmlformats.org/officeDocument/2006/relationships/image" Target="../media/image132.png"/></Relationships>
</file>

<file path=ppt/slides/_rels/slide22.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png"/><Relationship Id="rId1" Type="http://schemas.openxmlformats.org/officeDocument/2006/relationships/slideLayout" Target="../slideLayouts/slideLayout15.xml"/><Relationship Id="rId6" Type="http://schemas.openxmlformats.org/officeDocument/2006/relationships/image" Target="../media/image138.png"/><Relationship Id="rId5" Type="http://schemas.openxmlformats.org/officeDocument/2006/relationships/image" Target="../media/image137.png"/><Relationship Id="rId10" Type="http://schemas.openxmlformats.org/officeDocument/2006/relationships/image" Target="../media/image91.jpeg"/><Relationship Id="rId4" Type="http://schemas.openxmlformats.org/officeDocument/2006/relationships/image" Target="../media/image136.png"/><Relationship Id="rId9" Type="http://schemas.openxmlformats.org/officeDocument/2006/relationships/image" Target="../media/image140.png"/></Relationships>
</file>

<file path=ppt/slides/_rels/slide2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43.xml"/><Relationship Id="rId4" Type="http://schemas.openxmlformats.org/officeDocument/2006/relationships/image" Target="../media/image91.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2.png"/><Relationship Id="rId7" Type="http://schemas.openxmlformats.org/officeDocument/2006/relationships/image" Target="../media/image77.png"/><Relationship Id="rId12" Type="http://schemas.openxmlformats.org/officeDocument/2006/relationships/image" Target="../media/image91.jpeg"/><Relationship Id="rId2" Type="http://schemas.microsoft.com/office/2018/10/relationships/comments" Target="../comments/modernComment_7FFFDF19_24A3850.xml"/><Relationship Id="rId1" Type="http://schemas.openxmlformats.org/officeDocument/2006/relationships/slideLayout" Target="../slideLayouts/slideLayout211.xml"/><Relationship Id="rId6" Type="http://schemas.openxmlformats.org/officeDocument/2006/relationships/image" Target="../media/image145.jpeg"/><Relationship Id="rId11" Type="http://schemas.openxmlformats.org/officeDocument/2006/relationships/image" Target="../media/image149.png"/><Relationship Id="rId5" Type="http://schemas.openxmlformats.org/officeDocument/2006/relationships/image" Target="../media/image144.png"/><Relationship Id="rId10" Type="http://schemas.openxmlformats.org/officeDocument/2006/relationships/image" Target="../media/image148.png"/><Relationship Id="rId4" Type="http://schemas.openxmlformats.org/officeDocument/2006/relationships/image" Target="../media/image143.png"/><Relationship Id="rId9" Type="http://schemas.openxmlformats.org/officeDocument/2006/relationships/image" Target="../media/image147.png"/></Relationships>
</file>

<file path=ppt/slides/_rels/slide2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91.jpeg"/><Relationship Id="rId1" Type="http://schemas.openxmlformats.org/officeDocument/2006/relationships/slideLayout" Target="../slideLayouts/slideLayout211.xml"/><Relationship Id="rId4" Type="http://schemas.openxmlformats.org/officeDocument/2006/relationships/image" Target="../media/image149.png"/></Relationships>
</file>

<file path=ppt/slides/_rels/slide2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2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4.xml"/></Relationships>
</file>

<file path=ppt/slides/_rels/slide2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65.xml"/><Relationship Id="rId5" Type="http://schemas.openxmlformats.org/officeDocument/2006/relationships/image" Target="../media/image91.jpeg"/><Relationship Id="rId4" Type="http://schemas.openxmlformats.org/officeDocument/2006/relationships/image" Target="../media/image153.png"/></Relationships>
</file>

<file path=ppt/slides/_rels/slide3.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44.xml"/><Relationship Id="rId6" Type="http://schemas.openxmlformats.org/officeDocument/2006/relationships/image" Target="../media/image91.jpeg"/><Relationship Id="rId5" Type="http://schemas.openxmlformats.org/officeDocument/2006/relationships/image" Target="../media/image90.svg"/><Relationship Id="rId4" Type="http://schemas.openxmlformats.org/officeDocument/2006/relationships/image" Target="../media/image89.png"/></Relationships>
</file>

<file path=ppt/slides/_rels/slide30.xml.rels><?xml version="1.0" encoding="UTF-8" standalone="yes"?>
<Relationships xmlns="http://schemas.openxmlformats.org/package/2006/relationships"><Relationship Id="rId2" Type="http://schemas.microsoft.com/office/2018/10/relationships/comments" Target="../comments/modernComment_7FFFCF54_A840E54B.xml"/><Relationship Id="rId1" Type="http://schemas.openxmlformats.org/officeDocument/2006/relationships/slideLayout" Target="../slideLayouts/slideLayout27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4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jpeg"/></Relationships>
</file>

<file path=ppt/slides/_rels/slide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xml"/><Relationship Id="rId1" Type="http://schemas.openxmlformats.org/officeDocument/2006/relationships/slideLayout" Target="../slideLayouts/slideLayout98.xml"/><Relationship Id="rId5" Type="http://schemas.openxmlformats.org/officeDocument/2006/relationships/image" Target="../media/image96.png"/><Relationship Id="rId4" Type="http://schemas.openxmlformats.org/officeDocument/2006/relationships/image" Target="../media/image95.png"/></Relationships>
</file>

<file path=ppt/slides/_rels/slide7.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44.xml"/><Relationship Id="rId6" Type="http://schemas.openxmlformats.org/officeDocument/2006/relationships/image" Target="../media/image98.png"/><Relationship Id="rId5" Type="http://schemas.openxmlformats.org/officeDocument/2006/relationships/image" Target="../media/image97.jpeg"/><Relationship Id="rId4" Type="http://schemas.openxmlformats.org/officeDocument/2006/relationships/image" Target="../media/image91.jpeg"/></Relationships>
</file>

<file path=ppt/slides/_rels/slide8.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44.xml"/><Relationship Id="rId4" Type="http://schemas.openxmlformats.org/officeDocument/2006/relationships/image" Target="../media/image91.jpeg"/></Relationships>
</file>

<file path=ppt/slides/_rels/slide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xml"/><Relationship Id="rId1" Type="http://schemas.openxmlformats.org/officeDocument/2006/relationships/slideLayout" Target="../slideLayouts/slideLayout98.xml"/><Relationship Id="rId5" Type="http://schemas.openxmlformats.org/officeDocument/2006/relationships/image" Target="../media/image100.png"/><Relationship Id="rId4" Type="http://schemas.openxmlformats.org/officeDocument/2006/relationships/image" Target="../media/image99.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Marcador de fecha 3">
            <a:extLst>
              <a:ext uri="{FF2B5EF4-FFF2-40B4-BE49-F238E27FC236}">
                <a16:creationId xmlns:a16="http://schemas.microsoft.com/office/drawing/2014/main" id="{F5DB64F8-C4A5-813C-72BE-D00AECE93775}"/>
              </a:ext>
            </a:extLst>
          </p:cNvPr>
          <p:cNvSpPr txBox="1">
            <a:spLocks/>
          </p:cNvSpPr>
          <p:nvPr/>
        </p:nvSpPr>
        <p:spPr>
          <a:xfrm>
            <a:off x="1033057" y="6029325"/>
            <a:ext cx="5234393" cy="390525"/>
          </a:xfrm>
          <a:prstGeom prst="rect">
            <a:avLst/>
          </a:prstGeom>
        </p:spPr>
        <p:txBody>
          <a:bodyPr lIns="91440" tIns="45720" rIns="91440" bIns="45720" anchor="t"/>
          <a:lstStyle>
            <a:defPPr>
              <a:defRPr lang="es-ES"/>
            </a:defPPr>
            <a:lvl1pPr marL="0" indent="0" algn="l" defTabSz="914400" rtl="0" eaLnBrk="1" latinLnBrk="0" hangingPunct="1">
              <a:buFont typeface="Arial" panose="020B0604020202020204" pitchFamily="34" charset="0"/>
              <a:buNone/>
              <a:defRPr sz="6600" b="0" i="0" kern="1200">
                <a:solidFill>
                  <a:schemeClr val="bg1"/>
                </a:solidFill>
                <a:latin typeface="Poppins Medium" pitchFamily="2" charset="77"/>
                <a:ea typeface="+mn-ea"/>
                <a:cs typeface="Poppins Medium"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0" i="1" u="none" strike="noStrike" kern="1200" cap="none" spc="0" normalizeH="0" baseline="0" noProof="0" dirty="0">
                <a:ln>
                  <a:noFill/>
                </a:ln>
                <a:solidFill>
                  <a:prstClr val="white"/>
                </a:solidFill>
                <a:effectLst/>
                <a:uLnTx/>
                <a:uFillTx/>
                <a:latin typeface="Poppins Medium"/>
                <a:ea typeface="+mn-ea"/>
                <a:cs typeface="Poppins Medium"/>
              </a:rPr>
              <a:t>Jul 09, 2024</a:t>
            </a:r>
          </a:p>
        </p:txBody>
      </p:sp>
      <p:pic>
        <p:nvPicPr>
          <p:cNvPr id="7" name="Picture 2" descr="Global Property Management Group Odevo Continues U.S. Expansion With ...">
            <a:extLst>
              <a:ext uri="{FF2B5EF4-FFF2-40B4-BE49-F238E27FC236}">
                <a16:creationId xmlns:a16="http://schemas.microsoft.com/office/drawing/2014/main" id="{5631AA62-8E19-A2B7-3F95-073E00E7D2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3057" y="3599159"/>
            <a:ext cx="2966115" cy="1552264"/>
          </a:xfrm>
          <a:prstGeom prst="rect">
            <a:avLst/>
          </a:prstGeom>
          <a:noFill/>
          <a:extLst>
            <a:ext uri="{909E8E84-426E-40DD-AFC4-6F175D3DCCD1}">
              <a14:hiddenFill xmlns:a14="http://schemas.microsoft.com/office/drawing/2010/main">
                <a:solidFill>
                  <a:srgbClr val="FFFFFF"/>
                </a:solidFill>
              </a14:hiddenFill>
            </a:ext>
          </a:extLst>
        </p:spPr>
      </p:pic>
      <p:sp>
        <p:nvSpPr>
          <p:cNvPr id="8" name="Título 1">
            <a:extLst>
              <a:ext uri="{FF2B5EF4-FFF2-40B4-BE49-F238E27FC236}">
                <a16:creationId xmlns:a16="http://schemas.microsoft.com/office/drawing/2014/main" id="{6ACF5B25-6349-C5F4-C3E8-6D19EA278FA9}"/>
              </a:ext>
            </a:extLst>
          </p:cNvPr>
          <p:cNvSpPr>
            <a:spLocks noGrp="1"/>
          </p:cNvSpPr>
          <p:nvPr/>
        </p:nvSpPr>
        <p:spPr>
          <a:xfrm>
            <a:off x="926615" y="1827794"/>
            <a:ext cx="6337139" cy="2387600"/>
          </a:xfrm>
          <a:prstGeom prst="rect">
            <a:avLst/>
          </a:prstGeom>
        </p:spPr>
        <p:txBody>
          <a:bodyPr lIns="91440" tIns="45720" rIns="91440" bIns="45720" anchor="b">
            <a:noAutofit/>
          </a:bodyPr>
          <a:lstStyle>
            <a:lvl1pPr algn="l" defTabSz="914400" rtl="0" eaLnBrk="1" latinLnBrk="0" hangingPunct="1">
              <a:lnSpc>
                <a:spcPct val="100000"/>
              </a:lnSpc>
              <a:spcBef>
                <a:spcPct val="0"/>
              </a:spcBef>
              <a:buNone/>
              <a:defRPr sz="2200" b="0" i="0" kern="1200">
                <a:solidFill>
                  <a:schemeClr val="accent4"/>
                </a:solidFill>
                <a:latin typeface="+mj-lt"/>
                <a:ea typeface="+mj-ea"/>
                <a:cs typeface="+mj-cs"/>
              </a:defRPr>
            </a:lvl1pPr>
          </a:lstStyle>
          <a:p>
            <a:r>
              <a:rPr lang="es-CO" sz="2400" spc="-150" dirty="0">
                <a:solidFill>
                  <a:schemeClr val="bg1"/>
                </a:solidFill>
                <a:latin typeface="Poppins"/>
                <a:cs typeface="Poppins"/>
              </a:rPr>
              <a:t>Discussion document</a:t>
            </a:r>
            <a:r>
              <a:rPr lang="es-CO" sz="4400" spc="-150" dirty="0">
                <a:solidFill>
                  <a:schemeClr val="bg1"/>
                </a:solidFill>
                <a:latin typeface="Poppins"/>
                <a:cs typeface="Poppins"/>
              </a:rPr>
              <a:t> </a:t>
            </a:r>
            <a:br>
              <a:rPr lang="es-CO" sz="4400" spc="-150" dirty="0">
                <a:latin typeface="Poppins"/>
                <a:cs typeface="Poppins"/>
              </a:rPr>
            </a:br>
            <a:r>
              <a:rPr lang="en" sz="4000" spc="-150" dirty="0">
                <a:solidFill>
                  <a:schemeClr val="bg1"/>
                </a:solidFill>
                <a:latin typeface="Poppins"/>
                <a:cs typeface="Poppins ExtraLight"/>
              </a:rPr>
              <a:t>Industry due diligence </a:t>
            </a:r>
            <a:br>
              <a:rPr lang="es-CO" sz="4000" spc="-150" dirty="0">
                <a:cs typeface="Poppins ExtraLight"/>
              </a:rPr>
            </a:br>
            <a:r>
              <a:rPr lang="es-CO" sz="4400" spc="-150" dirty="0">
                <a:solidFill>
                  <a:schemeClr val="bg1"/>
                </a:solidFill>
                <a:latin typeface="Poppins ExtraLight"/>
                <a:cs typeface="Poppins ExtraLight"/>
              </a:rPr>
              <a:t> </a:t>
            </a:r>
            <a:r>
              <a:rPr lang="es-CO" sz="1800" spc="-150" dirty="0">
                <a:solidFill>
                  <a:schemeClr val="bg1"/>
                </a:solidFill>
                <a:latin typeface="Poppins ExtraLight"/>
                <a:cs typeface="Poppins ExtraLight"/>
              </a:rPr>
              <a:t>July, 2024</a:t>
            </a:r>
            <a:endParaRPr lang="es-CO" sz="4400" spc="-150" dirty="0">
              <a:solidFill>
                <a:schemeClr val="bg1"/>
              </a:solidFill>
              <a:latin typeface="Poppins ExtraLight"/>
              <a:cs typeface="Poppins ExtraLight"/>
            </a:endParaRPr>
          </a:p>
        </p:txBody>
      </p:sp>
    </p:spTree>
    <p:extLst>
      <p:ext uri="{BB962C8B-B14F-4D97-AF65-F5344CB8AC3E}">
        <p14:creationId xmlns:p14="http://schemas.microsoft.com/office/powerpoint/2010/main" val="17024354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ángulo 254">
            <a:extLst>
              <a:ext uri="{FF2B5EF4-FFF2-40B4-BE49-F238E27FC236}">
                <a16:creationId xmlns:a16="http://schemas.microsoft.com/office/drawing/2014/main" id="{BF801C84-8C0C-F330-D65F-9CB048C643ED}"/>
              </a:ext>
            </a:extLst>
          </p:cNvPr>
          <p:cNvSpPr/>
          <p:nvPr/>
        </p:nvSpPr>
        <p:spPr>
          <a:xfrm>
            <a:off x="-20573" y="-77821"/>
            <a:ext cx="4008938" cy="5461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50" name="bg object 16">
            <a:extLst>
              <a:ext uri="{FF2B5EF4-FFF2-40B4-BE49-F238E27FC236}">
                <a16:creationId xmlns:a16="http://schemas.microsoft.com/office/drawing/2014/main" id="{B2B6884F-5F3A-E0D1-E0AC-5852BF5DAE2C}"/>
              </a:ext>
            </a:extLst>
          </p:cNvPr>
          <p:cNvSpPr/>
          <p:nvPr/>
        </p:nvSpPr>
        <p:spPr>
          <a:xfrm>
            <a:off x="8541072" y="-12028"/>
            <a:ext cx="3672148" cy="1353956"/>
          </a:xfrm>
          <a:custGeom>
            <a:avLst/>
            <a:gdLst/>
            <a:ahLst/>
            <a:cxnLst/>
            <a:rect l="l" t="t" r="r" b="b"/>
            <a:pathLst>
              <a:path w="3664584" h="1221739">
                <a:moveTo>
                  <a:pt x="0" y="1221460"/>
                </a:moveTo>
                <a:lnTo>
                  <a:pt x="3664381" y="1221460"/>
                </a:lnTo>
                <a:lnTo>
                  <a:pt x="3664381" y="0"/>
                </a:lnTo>
                <a:lnTo>
                  <a:pt x="0" y="0"/>
                </a:lnTo>
                <a:lnTo>
                  <a:pt x="0" y="1221460"/>
                </a:lnTo>
                <a:close/>
              </a:path>
            </a:pathLst>
          </a:custGeom>
          <a:solidFill>
            <a:srgbClr val="8A88C7"/>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3" name="bg object 19">
            <a:extLst>
              <a:ext uri="{FF2B5EF4-FFF2-40B4-BE49-F238E27FC236}">
                <a16:creationId xmlns:a16="http://schemas.microsoft.com/office/drawing/2014/main" id="{795E4931-AE54-AEC7-628B-40C432ED2CD7}"/>
              </a:ext>
            </a:extLst>
          </p:cNvPr>
          <p:cNvSpPr/>
          <p:nvPr/>
        </p:nvSpPr>
        <p:spPr>
          <a:xfrm>
            <a:off x="3570022" y="-98188"/>
            <a:ext cx="4995795" cy="5550489"/>
          </a:xfrm>
          <a:custGeom>
            <a:avLst/>
            <a:gdLst/>
            <a:ahLst/>
            <a:cxnLst/>
            <a:rect l="l" t="t" r="r" b="b"/>
            <a:pathLst>
              <a:path w="8183880" h="2945765">
                <a:moveTo>
                  <a:pt x="8183270" y="0"/>
                </a:moveTo>
                <a:lnTo>
                  <a:pt x="0" y="0"/>
                </a:lnTo>
                <a:lnTo>
                  <a:pt x="0" y="2945485"/>
                </a:lnTo>
                <a:lnTo>
                  <a:pt x="8183270" y="2945485"/>
                </a:lnTo>
                <a:lnTo>
                  <a:pt x="8183270" y="0"/>
                </a:lnTo>
                <a:close/>
              </a:path>
            </a:pathLst>
          </a:custGeom>
          <a:solidFill>
            <a:srgbClr val="8980F6"/>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4" name="bg object 20">
            <a:extLst>
              <a:ext uri="{FF2B5EF4-FFF2-40B4-BE49-F238E27FC236}">
                <a16:creationId xmlns:a16="http://schemas.microsoft.com/office/drawing/2014/main" id="{87300C3D-5135-1B2B-0EDC-2E9D4111661B}"/>
              </a:ext>
            </a:extLst>
          </p:cNvPr>
          <p:cNvSpPr/>
          <p:nvPr/>
        </p:nvSpPr>
        <p:spPr>
          <a:xfrm>
            <a:off x="-20572" y="5383407"/>
            <a:ext cx="8598966" cy="1623830"/>
          </a:xfrm>
          <a:custGeom>
            <a:avLst/>
            <a:gdLst/>
            <a:ahLst/>
            <a:cxnLst/>
            <a:rect l="l" t="t" r="r" b="b"/>
            <a:pathLst>
              <a:path w="12193270" h="1400175">
                <a:moveTo>
                  <a:pt x="12193206" y="0"/>
                </a:moveTo>
                <a:lnTo>
                  <a:pt x="0" y="0"/>
                </a:lnTo>
                <a:lnTo>
                  <a:pt x="0" y="1399616"/>
                </a:lnTo>
                <a:lnTo>
                  <a:pt x="12193206" y="1399616"/>
                </a:lnTo>
                <a:lnTo>
                  <a:pt x="12193206" y="0"/>
                </a:lnTo>
                <a:close/>
              </a:path>
            </a:pathLst>
          </a:custGeom>
          <a:solidFill>
            <a:srgbClr val="412E91"/>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192" name="object 2">
            <a:extLst>
              <a:ext uri="{FF2B5EF4-FFF2-40B4-BE49-F238E27FC236}">
                <a16:creationId xmlns:a16="http://schemas.microsoft.com/office/drawing/2014/main" id="{AB358DD3-4D52-0F22-8DE3-EC16CA46AF2B}"/>
              </a:ext>
            </a:extLst>
          </p:cNvPr>
          <p:cNvSpPr txBox="1"/>
          <p:nvPr/>
        </p:nvSpPr>
        <p:spPr>
          <a:xfrm>
            <a:off x="918477" y="1191102"/>
            <a:ext cx="1255503" cy="382797"/>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s-ES" sz="2400" b="1" i="0" u="none" strike="noStrike" kern="1200" cap="none" spc="0" normalizeH="0" baseline="0" noProof="0" dirty="0">
                <a:ln>
                  <a:noFill/>
                </a:ln>
                <a:solidFill>
                  <a:srgbClr val="8980F6"/>
                </a:solidFill>
                <a:effectLst/>
                <a:uLnTx/>
                <a:uFillTx/>
                <a:latin typeface="Poppins" pitchFamily="2" charset="77"/>
                <a:ea typeface="+mn-ea"/>
                <a:cs typeface="Poppins" pitchFamily="2" charset="77"/>
              </a:rPr>
              <a:t>PHASE</a:t>
            </a:r>
            <a:endParaRPr kumimoji="0" lang="es-CO" sz="2400" b="1" i="0" u="none" strike="noStrike" kern="1200" cap="none" spc="0" normalizeH="0" baseline="0" noProof="0" dirty="0">
              <a:ln>
                <a:noFill/>
              </a:ln>
              <a:solidFill>
                <a:srgbClr val="8980F6"/>
              </a:solidFill>
              <a:effectLst/>
              <a:uLnTx/>
              <a:uFillTx/>
              <a:latin typeface="Poppins" pitchFamily="2" charset="77"/>
              <a:ea typeface="+mn-ea"/>
              <a:cs typeface="Poppins" pitchFamily="2" charset="77"/>
            </a:endParaRPr>
          </a:p>
        </p:txBody>
      </p:sp>
      <p:sp>
        <p:nvSpPr>
          <p:cNvPr id="193" name="object 3">
            <a:extLst>
              <a:ext uri="{FF2B5EF4-FFF2-40B4-BE49-F238E27FC236}">
                <a16:creationId xmlns:a16="http://schemas.microsoft.com/office/drawing/2014/main" id="{1EE053BD-7733-BC77-6A21-F24185BC521C}"/>
              </a:ext>
            </a:extLst>
          </p:cNvPr>
          <p:cNvSpPr txBox="1"/>
          <p:nvPr/>
        </p:nvSpPr>
        <p:spPr>
          <a:xfrm>
            <a:off x="350681" y="1643045"/>
            <a:ext cx="3432143" cy="764312"/>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dirty="0" err="1">
                <a:ln>
                  <a:noFill/>
                </a:ln>
                <a:solidFill>
                  <a:srgbClr val="535353"/>
                </a:solidFill>
                <a:effectLst/>
                <a:uLnTx/>
                <a:uFillTx/>
                <a:latin typeface="Poppins Medium" pitchFamily="2" charset="77"/>
                <a:ea typeface="+mn-ea"/>
                <a:cs typeface="Poppins Medium" pitchFamily="2" charset="77"/>
              </a:rPr>
              <a:t>Market</a:t>
            </a:r>
            <a:r>
              <a:rPr kumimoji="0" lang="es-CO"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a:t>
            </a:r>
            <a:r>
              <a:rPr lang="es-CO" sz="1200" dirty="0">
                <a:solidFill>
                  <a:srgbClr val="535353"/>
                </a:solidFill>
                <a:latin typeface="Poppins Medium" pitchFamily="2" charset="77"/>
                <a:cs typeface="Poppins Medium" pitchFamily="2" charset="77"/>
              </a:rPr>
              <a:t>size analysis</a:t>
            </a:r>
            <a:r>
              <a:rPr kumimoji="0" lang="es-CO"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419"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419" sz="1200" b="0" i="0" u="none" strike="noStrike" kern="1200" cap="none" spc="0" normalizeH="0" baseline="0" noProof="0" dirty="0" err="1">
                <a:ln>
                  <a:noFill/>
                </a:ln>
                <a:solidFill>
                  <a:srgbClr val="535353"/>
                </a:solidFill>
                <a:effectLst/>
                <a:uLnTx/>
                <a:uFillTx/>
                <a:latin typeface="Poppins Medium" pitchFamily="2" charset="77"/>
                <a:ea typeface="+mn-ea"/>
                <a:cs typeface="Poppins Medium" pitchFamily="2" charset="77"/>
              </a:rPr>
              <a:t>Duration</a:t>
            </a:r>
            <a:r>
              <a:rPr kumimoji="0" lang="es-419"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2 weeks.</a:t>
            </a:r>
          </a:p>
          <a:p>
            <a:pPr marL="12700" marR="5080" lvl="0" indent="0" algn="l" defTabSz="914400" rtl="0" eaLnBrk="1" fontAlgn="auto" latinLnBrk="0" hangingPunct="1">
              <a:lnSpc>
                <a:spcPct val="100000"/>
              </a:lnSpc>
              <a:spcBef>
                <a:spcPts val="10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Medium" pitchFamily="2" charset="77"/>
              <a:ea typeface="+mn-ea"/>
              <a:cs typeface="Poppins Medium" pitchFamily="2" charset="77"/>
            </a:endParaRPr>
          </a:p>
        </p:txBody>
      </p:sp>
      <p:sp>
        <p:nvSpPr>
          <p:cNvPr id="195" name="object 5">
            <a:extLst>
              <a:ext uri="{FF2B5EF4-FFF2-40B4-BE49-F238E27FC236}">
                <a16:creationId xmlns:a16="http://schemas.microsoft.com/office/drawing/2014/main" id="{BDA64AEE-7204-6E8E-5A04-E0380B31472E}"/>
              </a:ext>
            </a:extLst>
          </p:cNvPr>
          <p:cNvSpPr txBox="1"/>
          <p:nvPr/>
        </p:nvSpPr>
        <p:spPr>
          <a:xfrm>
            <a:off x="4183010" y="384882"/>
            <a:ext cx="4209027" cy="295466"/>
          </a:xfrm>
          <a:prstGeom prst="rect">
            <a:avLst/>
          </a:prstGeom>
        </p:spPr>
        <p:txBody>
          <a:bodyPr vert="horz" wrap="square" lIns="0" tIns="38100" rIns="0" bIns="0" rtlCol="0">
            <a:spAutoFit/>
          </a:bodyPr>
          <a:lstStyle/>
          <a:p>
            <a:pPr marL="12700" marR="5080" lvl="0" indent="0" algn="l" defTabSz="914400" rtl="0" eaLnBrk="1" fontAlgn="auto" latinLnBrk="0" hangingPunct="1">
              <a:lnSpc>
                <a:spcPts val="2000"/>
              </a:lnSpc>
              <a:spcBef>
                <a:spcPts val="300"/>
              </a:spcBef>
              <a:spcAft>
                <a:spcPts val="0"/>
              </a:spcAft>
              <a:buClrTx/>
              <a:buSzTx/>
              <a:buFontTx/>
              <a:buNone/>
              <a:tabLst/>
              <a:defRPr/>
            </a:pPr>
            <a:r>
              <a:rPr kumimoji="0" lang="es-CO" sz="1800" b="1" i="0" u="none" strike="noStrike" kern="1200" cap="none" spc="0" normalizeH="0" baseline="0" noProof="0" dirty="0">
                <a:ln>
                  <a:noFill/>
                </a:ln>
                <a:solidFill>
                  <a:srgbClr val="412E91"/>
                </a:solidFill>
                <a:effectLst/>
                <a:uLnTx/>
                <a:uFillTx/>
                <a:latin typeface="Poppins" pitchFamily="2" charset="77"/>
                <a:ea typeface="+mn-ea"/>
                <a:cs typeface="Poppins" pitchFamily="2" charset="77"/>
              </a:rPr>
              <a:t>Action details</a:t>
            </a:r>
            <a:endParaRPr kumimoji="0" lang="es-CO" sz="1800" b="0" i="0" u="none" strike="noStrike" kern="1200" cap="none" spc="0" normalizeH="0" baseline="0" noProof="0" dirty="0">
              <a:ln>
                <a:noFill/>
              </a:ln>
              <a:solidFill>
                <a:srgbClr val="412E91"/>
              </a:solidFill>
              <a:effectLst/>
              <a:uLnTx/>
              <a:uFillTx/>
              <a:latin typeface="Poppins" pitchFamily="2" charset="77"/>
              <a:ea typeface="+mn-ea"/>
              <a:cs typeface="Poppins" pitchFamily="2" charset="77"/>
            </a:endParaRPr>
          </a:p>
        </p:txBody>
      </p:sp>
      <p:sp>
        <p:nvSpPr>
          <p:cNvPr id="200" name="object 10">
            <a:extLst>
              <a:ext uri="{FF2B5EF4-FFF2-40B4-BE49-F238E27FC236}">
                <a16:creationId xmlns:a16="http://schemas.microsoft.com/office/drawing/2014/main" id="{8C6AA9F5-FF9D-D505-3D6B-9A7D7F371F29}"/>
              </a:ext>
            </a:extLst>
          </p:cNvPr>
          <p:cNvSpPr txBox="1"/>
          <p:nvPr/>
        </p:nvSpPr>
        <p:spPr>
          <a:xfrm>
            <a:off x="8727428" y="53816"/>
            <a:ext cx="3336757" cy="894476"/>
          </a:xfrm>
          <a:prstGeom prst="rect">
            <a:avLst/>
          </a:prstGeom>
        </p:spPr>
        <p:txBody>
          <a:bodyPr vert="horz" wrap="square" lIns="0" tIns="154305"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Deliverable – Summary of understanding and analysis of secondary research</a:t>
            </a:r>
            <a:endParaRPr kumimoji="0" lang="es-CO" sz="16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endParaRPr>
          </a:p>
        </p:txBody>
      </p:sp>
      <p:sp>
        <p:nvSpPr>
          <p:cNvPr id="208" name="object 18">
            <a:extLst>
              <a:ext uri="{FF2B5EF4-FFF2-40B4-BE49-F238E27FC236}">
                <a16:creationId xmlns:a16="http://schemas.microsoft.com/office/drawing/2014/main" id="{DA81DA77-AF07-3822-A60C-F2F45DDD23F6}"/>
              </a:ext>
            </a:extLst>
          </p:cNvPr>
          <p:cNvSpPr txBox="1"/>
          <p:nvPr/>
        </p:nvSpPr>
        <p:spPr>
          <a:xfrm>
            <a:off x="3956633" y="1128076"/>
            <a:ext cx="4278733" cy="3488134"/>
          </a:xfrm>
          <a:prstGeom prst="rect">
            <a:avLst/>
          </a:prstGeom>
        </p:spPr>
        <p:txBody>
          <a:bodyPr vert="horz" wrap="square" lIns="0" tIns="12700" rIns="0" bIns="0" rtlCol="0" anchor="t">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s-419" sz="1100" b="1" i="0" u="none" strike="noStrike" kern="100" cap="none" spc="0" normalizeH="0" baseline="0" noProof="0" dirty="0">
                <a:ln>
                  <a:noFill/>
                </a:ln>
                <a:solidFill>
                  <a:srgbClr val="FFFFFF"/>
                </a:solidFill>
                <a:effectLst/>
                <a:uLnTx/>
                <a:uFillTx/>
                <a:latin typeface="Poppins"/>
                <a:ea typeface="Calibri"/>
                <a:cs typeface="Poppins ExtraLight"/>
              </a:rPr>
              <a:t>SECONDARY RESEARCH:</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Web mining and content analysis to identify and quantify shifts in competitors' strategies and industry benchmarks.</a:t>
            </a:r>
            <a:endParaRPr kumimoji="0" lang="en-US" sz="1800" b="0" i="0" u="none" strike="noStrike" kern="1200" cap="none" spc="0" normalizeH="0" baseline="0" noProof="0" dirty="0">
              <a:ln>
                <a:noFill/>
              </a:ln>
              <a:solidFill>
                <a:srgbClr val="FFFFFF"/>
              </a:solidFill>
              <a:effectLst/>
              <a:uLnTx/>
              <a:uFillTx/>
              <a:latin typeface="Poppins Light"/>
              <a:ea typeface="+mn-ea"/>
              <a:cs typeface="Poppins 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Analysis of secondary data on the current market size, growth projections, and key play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Collect and review data on competitors through their websites, press releases, benchmarks, databases and case studies to evaluate their strategies, strengths, and market positioning.</a:t>
            </a: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00" cap="none" spc="0" normalizeH="0" baseline="0" noProof="0" dirty="0">
              <a:ln>
                <a:noFill/>
              </a:ln>
              <a:solidFill>
                <a:srgbClr val="FFFFFF"/>
              </a:solidFill>
              <a:effectLst/>
              <a:uLnTx/>
              <a:uFillTx/>
              <a:latin typeface="Poppins"/>
              <a:ea typeface="Calibri"/>
              <a:cs typeface="Poppins ExtraLight"/>
            </a:endParaRP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0" i="0" u="sng" strike="noStrike" kern="100" cap="none" spc="0" normalizeH="0" baseline="0" noProof="0" dirty="0">
                <a:ln>
                  <a:noFill/>
                </a:ln>
                <a:solidFill>
                  <a:srgbClr val="FFFFFF"/>
                </a:solidFill>
                <a:effectLst/>
                <a:uLnTx/>
                <a:uFillTx/>
                <a:latin typeface="Poppins"/>
                <a:ea typeface="Calibri"/>
                <a:cs typeface="Poppins ExtraLight"/>
              </a:rPr>
              <a:t>Tools</a:t>
            </a: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 Use of analytics platforms and social listening tools to aggregate and analyze data.</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kumimoji="0" lang="en-US" sz="1100" b="0" i="0" u="none" strike="noStrike" kern="100" cap="none" spc="0" normalizeH="0" baseline="0" noProof="0" dirty="0">
              <a:ln>
                <a:noFill/>
              </a:ln>
              <a:solidFill>
                <a:srgbClr val="FFFFFF"/>
              </a:solidFill>
              <a:effectLst/>
              <a:uLnTx/>
              <a:uFillTx/>
              <a:latin typeface="Poppins"/>
              <a:ea typeface="Calibri"/>
              <a:cs typeface="Poppins ExtraLight"/>
            </a:endParaRP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0" i="0" u="sng" strike="noStrike" kern="100" cap="none" spc="0" normalizeH="0" baseline="0" noProof="0" dirty="0">
                <a:ln>
                  <a:noFill/>
                </a:ln>
                <a:solidFill>
                  <a:srgbClr val="FFFFFF"/>
                </a:solidFill>
                <a:effectLst/>
                <a:uLnTx/>
                <a:uFillTx/>
                <a:latin typeface="Poppins"/>
                <a:ea typeface="Calibri"/>
                <a:cs typeface="Poppins ExtraLight"/>
              </a:rPr>
              <a:t>Sources</a:t>
            </a: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 Industry reports, review forums, social media, and other relevant online content that reflect market behavior.</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1100" kern="100" dirty="0">
              <a:solidFill>
                <a:srgbClr val="FFFFFF"/>
              </a:solidFill>
              <a:latin typeface="Poppins"/>
              <a:ea typeface="Calibri"/>
              <a:cs typeface="Poppins ExtraLight"/>
            </a:endParaRPr>
          </a:p>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s-419" sz="1100" b="1" i="0" u="none" strike="noStrike" kern="100" cap="none" spc="0" normalizeH="0" baseline="0" noProof="0" dirty="0">
                <a:ln>
                  <a:noFill/>
                </a:ln>
                <a:solidFill>
                  <a:srgbClr val="FFFFFF"/>
                </a:solidFill>
                <a:effectLst/>
                <a:uLnTx/>
                <a:uFillTx/>
                <a:latin typeface="Poppins"/>
                <a:ea typeface="Calibri"/>
                <a:cs typeface="Poppins ExtraLight"/>
              </a:rPr>
              <a:t>MARKET SIZING MODEL:</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Market size estimates: create a model and estimate size of the opportunity by service, TAM and SAM by state, and market share of the target company. </a:t>
            </a:r>
          </a:p>
        </p:txBody>
      </p:sp>
      <p:sp>
        <p:nvSpPr>
          <p:cNvPr id="246" name="object 56">
            <a:extLst>
              <a:ext uri="{FF2B5EF4-FFF2-40B4-BE49-F238E27FC236}">
                <a16:creationId xmlns:a16="http://schemas.microsoft.com/office/drawing/2014/main" id="{F218F018-D89C-BA38-01AA-60E17EAC352F}"/>
              </a:ext>
            </a:extLst>
          </p:cNvPr>
          <p:cNvSpPr txBox="1"/>
          <p:nvPr/>
        </p:nvSpPr>
        <p:spPr>
          <a:xfrm>
            <a:off x="292314" y="916900"/>
            <a:ext cx="853876" cy="77905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lang="es-CO" sz="4950" b="1" i="0" u="none" strike="noStrike" kern="1200" cap="none" spc="-50" normalizeH="0" baseline="0" noProof="0" dirty="0">
                <a:ln>
                  <a:noFill/>
                </a:ln>
                <a:solidFill>
                  <a:srgbClr val="8980F6"/>
                </a:solidFill>
                <a:effectLst/>
                <a:uLnTx/>
                <a:uFillTx/>
                <a:latin typeface="Poppins Bold" panose="00000800000000000000" pitchFamily="2" charset="0"/>
                <a:ea typeface="+mn-ea"/>
                <a:cs typeface="Poppins Bold" panose="00000800000000000000" pitchFamily="2" charset="0"/>
              </a:rPr>
              <a:t>1</a:t>
            </a:r>
            <a:r>
              <a:rPr kumimoji="0" lang="es-CO" sz="3000" b="1" i="0" u="none" strike="noStrike" kern="1200" cap="none" spc="-50" normalizeH="0" baseline="0" noProof="0" dirty="0">
                <a:ln>
                  <a:noFill/>
                </a:ln>
                <a:solidFill>
                  <a:srgbClr val="8980F6"/>
                </a:solidFill>
                <a:effectLst/>
                <a:uLnTx/>
                <a:uFillTx/>
                <a:latin typeface="Poppins Bold" panose="00000800000000000000" pitchFamily="2" charset="0"/>
                <a:ea typeface="+mn-ea"/>
                <a:cs typeface="Poppins Bold" panose="00000800000000000000" pitchFamily="2" charset="0"/>
              </a:rPr>
              <a:t>c</a:t>
            </a:r>
            <a:endParaRPr kumimoji="0" lang="es-CO" sz="3000" b="0" i="0" u="none" strike="noStrike" kern="1200" cap="none" spc="0" normalizeH="0" baseline="0" noProof="0" dirty="0">
              <a:ln>
                <a:noFill/>
              </a:ln>
              <a:solidFill>
                <a:srgbClr val="545354"/>
              </a:solidFill>
              <a:effectLst/>
              <a:uLnTx/>
              <a:uFillTx/>
              <a:latin typeface="Poppins Bold" panose="00000800000000000000" pitchFamily="2" charset="0"/>
              <a:ea typeface="+mn-ea"/>
              <a:cs typeface="Poppins Bold" panose="00000800000000000000" pitchFamily="2" charset="0"/>
            </a:endParaRPr>
          </a:p>
        </p:txBody>
      </p:sp>
      <p:sp>
        <p:nvSpPr>
          <p:cNvPr id="271" name="Rectángulo 270">
            <a:extLst>
              <a:ext uri="{FF2B5EF4-FFF2-40B4-BE49-F238E27FC236}">
                <a16:creationId xmlns:a16="http://schemas.microsoft.com/office/drawing/2014/main" id="{6B871234-5775-ECE8-C0FD-6B94BD321F22}"/>
              </a:ext>
            </a:extLst>
          </p:cNvPr>
          <p:cNvSpPr/>
          <p:nvPr/>
        </p:nvSpPr>
        <p:spPr>
          <a:xfrm>
            <a:off x="3779203" y="1708811"/>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4" name="Triángulo 283">
            <a:extLst>
              <a:ext uri="{FF2B5EF4-FFF2-40B4-BE49-F238E27FC236}">
                <a16:creationId xmlns:a16="http://schemas.microsoft.com/office/drawing/2014/main" id="{A454517C-5191-C216-E2E2-1839A0C0D24D}"/>
              </a:ext>
            </a:extLst>
          </p:cNvPr>
          <p:cNvSpPr/>
          <p:nvPr/>
        </p:nvSpPr>
        <p:spPr>
          <a:xfrm rot="5400000">
            <a:off x="3528215" y="337457"/>
            <a:ext cx="538396" cy="464134"/>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6" name="Triángulo 285">
            <a:extLst>
              <a:ext uri="{FF2B5EF4-FFF2-40B4-BE49-F238E27FC236}">
                <a16:creationId xmlns:a16="http://schemas.microsoft.com/office/drawing/2014/main" id="{B5A01591-04DD-52AE-D1C5-A361D6800D63}"/>
              </a:ext>
            </a:extLst>
          </p:cNvPr>
          <p:cNvSpPr/>
          <p:nvPr/>
        </p:nvSpPr>
        <p:spPr>
          <a:xfrm rot="10800000">
            <a:off x="8727428" y="1224789"/>
            <a:ext cx="465624" cy="401400"/>
          </a:xfrm>
          <a:prstGeom prst="triangle">
            <a:avLst/>
          </a:prstGeom>
          <a:solidFill>
            <a:srgbClr val="8987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9" name="TextBox 24">
            <a:extLst>
              <a:ext uri="{FF2B5EF4-FFF2-40B4-BE49-F238E27FC236}">
                <a16:creationId xmlns:a16="http://schemas.microsoft.com/office/drawing/2014/main" id="{3C760962-7B3E-FE6C-B1DF-715A5B17863A}"/>
              </a:ext>
            </a:extLst>
          </p:cNvPr>
          <p:cNvSpPr txBox="1"/>
          <p:nvPr/>
        </p:nvSpPr>
        <p:spPr>
          <a:xfrm>
            <a:off x="257960" y="5521195"/>
            <a:ext cx="4341253"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1600" b="1"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Objective of the phase: </a:t>
            </a:r>
            <a:r>
              <a:rPr kumimoji="0" lang="es-419" sz="16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Market Analysis</a:t>
            </a:r>
          </a:p>
        </p:txBody>
      </p:sp>
      <p:sp>
        <p:nvSpPr>
          <p:cNvPr id="2" name="object 7">
            <a:extLst>
              <a:ext uri="{FF2B5EF4-FFF2-40B4-BE49-F238E27FC236}">
                <a16:creationId xmlns:a16="http://schemas.microsoft.com/office/drawing/2014/main" id="{DB99E360-8BFD-4687-D70E-0312C3BD02AC}"/>
              </a:ext>
            </a:extLst>
          </p:cNvPr>
          <p:cNvSpPr txBox="1">
            <a:spLocks/>
          </p:cNvSpPr>
          <p:nvPr/>
        </p:nvSpPr>
        <p:spPr>
          <a:xfrm>
            <a:off x="334679" y="515341"/>
            <a:ext cx="2541871" cy="407798"/>
          </a:xfrm>
          <a:prstGeom prst="rect">
            <a:avLst/>
          </a:prstGeom>
        </p:spPr>
        <p:txBody>
          <a:bodyPr vert="horz" wrap="square" lIns="0" tIns="71622"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CO" sz="2400" b="1" i="0" u="none" strike="noStrike" kern="1200" cap="none" spc="0" normalizeH="0" baseline="0" noProof="0" dirty="0">
                <a:ln>
                  <a:noFill/>
                </a:ln>
                <a:solidFill>
                  <a:srgbClr val="412E91"/>
                </a:solidFill>
                <a:effectLst/>
                <a:uLnTx/>
                <a:uFillTx/>
                <a:latin typeface="Poppins" pitchFamily="2" charset="77"/>
                <a:ea typeface="+mj-ea"/>
                <a:cs typeface="Poppins" pitchFamily="2" charset="77"/>
              </a:rPr>
              <a:t>METHODOLOGY</a:t>
            </a:r>
          </a:p>
        </p:txBody>
      </p:sp>
      <p:pic>
        <p:nvPicPr>
          <p:cNvPr id="19" name="Imagen 18" descr="Imagen que contiene Círculo&#10;&#10;Descripción generada automáticamente">
            <a:extLst>
              <a:ext uri="{FF2B5EF4-FFF2-40B4-BE49-F238E27FC236}">
                <a16:creationId xmlns:a16="http://schemas.microsoft.com/office/drawing/2014/main" id="{C014B729-07A1-9FD9-8B39-8C2CF97F0499}"/>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88594" y="6021074"/>
            <a:ext cx="647714" cy="647714"/>
          </a:xfrm>
          <a:prstGeom prst="rect">
            <a:avLst/>
          </a:prstGeom>
        </p:spPr>
      </p:pic>
      <p:cxnSp>
        <p:nvCxnSpPr>
          <p:cNvPr id="10" name="Conector recto 9">
            <a:extLst>
              <a:ext uri="{FF2B5EF4-FFF2-40B4-BE49-F238E27FC236}">
                <a16:creationId xmlns:a16="http://schemas.microsoft.com/office/drawing/2014/main" id="{B92E686B-B3B4-FB7A-3C1B-A511EDB310AA}"/>
              </a:ext>
            </a:extLst>
          </p:cNvPr>
          <p:cNvCxnSpPr>
            <a:cxnSpLocks/>
          </p:cNvCxnSpPr>
          <p:nvPr/>
        </p:nvCxnSpPr>
        <p:spPr>
          <a:xfrm>
            <a:off x="4589688" y="5709522"/>
            <a:ext cx="28135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uadroTexto 3">
            <a:extLst>
              <a:ext uri="{FF2B5EF4-FFF2-40B4-BE49-F238E27FC236}">
                <a16:creationId xmlns:a16="http://schemas.microsoft.com/office/drawing/2014/main" id="{E1339E3C-BA00-8A1A-87BD-6AAD4EF1995B}"/>
              </a:ext>
            </a:extLst>
          </p:cNvPr>
          <p:cNvSpPr txBox="1"/>
          <p:nvPr/>
        </p:nvSpPr>
        <p:spPr>
          <a:xfrm>
            <a:off x="8810864" y="1638108"/>
            <a:ext cx="3253321" cy="938719"/>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Executive Summary with findings and recommenda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Breakdown of all the data collected, includes Excel files and additional reports that fed the secondary research.</a:t>
            </a:r>
          </a:p>
        </p:txBody>
      </p:sp>
      <p:pic>
        <p:nvPicPr>
          <p:cNvPr id="7" name="Imagen 6">
            <a:extLst>
              <a:ext uri="{FF2B5EF4-FFF2-40B4-BE49-F238E27FC236}">
                <a16:creationId xmlns:a16="http://schemas.microsoft.com/office/drawing/2014/main" id="{A371D8E9-D873-948A-75D4-617DF8643513}"/>
              </a:ext>
            </a:extLst>
          </p:cNvPr>
          <p:cNvPicPr>
            <a:picLocks noChangeAspect="1"/>
          </p:cNvPicPr>
          <p:nvPr/>
        </p:nvPicPr>
        <p:blipFill>
          <a:blip r:embed="rId4"/>
          <a:stretch>
            <a:fillRect/>
          </a:stretch>
        </p:blipFill>
        <p:spPr>
          <a:xfrm>
            <a:off x="8794912" y="2947235"/>
            <a:ext cx="3285223" cy="1623830"/>
          </a:xfrm>
          <a:prstGeom prst="rect">
            <a:avLst/>
          </a:prstGeom>
        </p:spPr>
      </p:pic>
      <p:sp>
        <p:nvSpPr>
          <p:cNvPr id="3" name="object 9">
            <a:extLst>
              <a:ext uri="{FF2B5EF4-FFF2-40B4-BE49-F238E27FC236}">
                <a16:creationId xmlns:a16="http://schemas.microsoft.com/office/drawing/2014/main" id="{AA873D99-D105-1CD6-01A0-73DE369B2AC8}"/>
              </a:ext>
            </a:extLst>
          </p:cNvPr>
          <p:cNvSpPr txBox="1"/>
          <p:nvPr/>
        </p:nvSpPr>
        <p:spPr>
          <a:xfrm>
            <a:off x="1337757" y="6126450"/>
            <a:ext cx="6692154" cy="382156"/>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Comprehend the market size to determine the current and potential market opportunities to strategically position </a:t>
            </a:r>
            <a:r>
              <a:rPr kumimoji="0" lang="en-US" sz="1200" b="0" i="0" u="none" strike="noStrike" kern="100" cap="none" spc="0" normalizeH="0" baseline="0" noProof="0" dirty="0" err="1">
                <a:ln>
                  <a:noFill/>
                </a:ln>
                <a:solidFill>
                  <a:srgbClr val="FFFFFF"/>
                </a:solidFill>
                <a:effectLst/>
                <a:uLnTx/>
                <a:uFillTx/>
                <a:latin typeface="Poppins"/>
                <a:ea typeface="Calibri" panose="020F0502020204030204" pitchFamily="34" charset="0"/>
                <a:cs typeface="Poppins Medium" pitchFamily="2" charset="77"/>
              </a:rPr>
              <a:t>Odevo</a:t>
            </a: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 for growth and expansion.</a:t>
            </a:r>
            <a:endParaRPr kumimoji="0" lang="es-419"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endParaRPr>
          </a:p>
        </p:txBody>
      </p:sp>
      <p:pic>
        <p:nvPicPr>
          <p:cNvPr id="9" name="Imagen 8">
            <a:extLst>
              <a:ext uri="{FF2B5EF4-FFF2-40B4-BE49-F238E27FC236}">
                <a16:creationId xmlns:a16="http://schemas.microsoft.com/office/drawing/2014/main" id="{F9389456-FF3C-BEB3-7509-68A09BBCDBEB}"/>
              </a:ext>
            </a:extLst>
          </p:cNvPr>
          <p:cNvPicPr>
            <a:picLocks noChangeAspect="1"/>
          </p:cNvPicPr>
          <p:nvPr/>
        </p:nvPicPr>
        <p:blipFill rotWithShape="1">
          <a:blip r:embed="rId5"/>
          <a:srcRect r="32326"/>
          <a:stretch/>
        </p:blipFill>
        <p:spPr>
          <a:xfrm>
            <a:off x="8636445" y="4763744"/>
            <a:ext cx="3555555" cy="1353956"/>
          </a:xfrm>
          <a:prstGeom prst="rect">
            <a:avLst/>
          </a:prstGeom>
        </p:spPr>
      </p:pic>
    </p:spTree>
    <p:extLst>
      <p:ext uri="{BB962C8B-B14F-4D97-AF65-F5344CB8AC3E}">
        <p14:creationId xmlns:p14="http://schemas.microsoft.com/office/powerpoint/2010/main" val="4268544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esquinas redondeadas 9">
            <a:extLst>
              <a:ext uri="{FF2B5EF4-FFF2-40B4-BE49-F238E27FC236}">
                <a16:creationId xmlns:a16="http://schemas.microsoft.com/office/drawing/2014/main" id="{2E95A301-4E10-ACDB-A0F2-FEED0D30D57D}"/>
              </a:ext>
            </a:extLst>
          </p:cNvPr>
          <p:cNvSpPr/>
          <p:nvPr/>
        </p:nvSpPr>
        <p:spPr>
          <a:xfrm>
            <a:off x="8664166" y="2194129"/>
            <a:ext cx="3141553" cy="3775295"/>
          </a:xfrm>
          <a:prstGeom prst="roundRect">
            <a:avLst>
              <a:gd name="adj" fmla="val 2834"/>
            </a:avLst>
          </a:prstGeom>
          <a:solidFill>
            <a:schemeClr val="accent3"/>
          </a:solidFill>
          <a:ln>
            <a:noFill/>
          </a:ln>
          <a:effectLst>
            <a:outerShdw blurRad="469900" dist="1016000" dir="6120000" sx="76000" sy="76000" algn="t"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Imagen 10" descr="Icono&#10;&#10;Descripción generada automáticamente">
            <a:extLst>
              <a:ext uri="{FF2B5EF4-FFF2-40B4-BE49-F238E27FC236}">
                <a16:creationId xmlns:a16="http://schemas.microsoft.com/office/drawing/2014/main" id="{3E1747BD-7DAC-5B8A-FD0A-A53A27D7CDC4}"/>
              </a:ext>
            </a:extLst>
          </p:cNvPr>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9934402">
            <a:off x="8815054" y="1746428"/>
            <a:ext cx="860561" cy="860561"/>
          </a:xfrm>
          <a:prstGeom prst="rect">
            <a:avLst/>
          </a:prstGeom>
        </p:spPr>
      </p:pic>
      <p:sp>
        <p:nvSpPr>
          <p:cNvPr id="2" name="Title 1">
            <a:extLst>
              <a:ext uri="{FF2B5EF4-FFF2-40B4-BE49-F238E27FC236}">
                <a16:creationId xmlns:a16="http://schemas.microsoft.com/office/drawing/2014/main" id="{821FD729-4139-B778-2585-C2F7A6B78D54}"/>
              </a:ext>
            </a:extLst>
          </p:cNvPr>
          <p:cNvSpPr>
            <a:spLocks noGrp="1"/>
          </p:cNvSpPr>
          <p:nvPr>
            <p:ph type="title"/>
          </p:nvPr>
        </p:nvSpPr>
        <p:spPr>
          <a:xfrm>
            <a:off x="985477" y="153256"/>
            <a:ext cx="10550013" cy="798836"/>
          </a:xfrm>
        </p:spPr>
        <p:txBody>
          <a:bodyPr>
            <a:normAutofit fontScale="90000"/>
          </a:bodyPr>
          <a:lstStyle/>
          <a:p>
            <a:r>
              <a:rPr lang="en-US" dirty="0"/>
              <a:t>TAM and SAM analysis for service provider to fire and law enforcement departments</a:t>
            </a:r>
          </a:p>
        </p:txBody>
      </p:sp>
      <p:graphicFrame>
        <p:nvGraphicFramePr>
          <p:cNvPr id="23" name="Gráfico 22">
            <a:extLst>
              <a:ext uri="{FF2B5EF4-FFF2-40B4-BE49-F238E27FC236}">
                <a16:creationId xmlns:a16="http://schemas.microsoft.com/office/drawing/2014/main" id="{EEE6563C-C097-757A-3AC4-A6883F55CF27}"/>
              </a:ext>
            </a:extLst>
          </p:cNvPr>
          <p:cNvGraphicFramePr>
            <a:graphicFrameLocks/>
          </p:cNvGraphicFramePr>
          <p:nvPr/>
        </p:nvGraphicFramePr>
        <p:xfrm>
          <a:off x="985478" y="1726585"/>
          <a:ext cx="7551423" cy="4799617"/>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2">
            <a:extLst>
              <a:ext uri="{FF2B5EF4-FFF2-40B4-BE49-F238E27FC236}">
                <a16:creationId xmlns:a16="http://schemas.microsoft.com/office/drawing/2014/main" id="{8DF981F6-2161-E895-A7DE-57750C0A522D}"/>
              </a:ext>
            </a:extLst>
          </p:cNvPr>
          <p:cNvSpPr txBox="1"/>
          <p:nvPr/>
        </p:nvSpPr>
        <p:spPr>
          <a:xfrm>
            <a:off x="8955767" y="2787566"/>
            <a:ext cx="2722688" cy="267765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t">
            <a:spAutoFit/>
          </a:bodyPr>
          <a:lstStyle/>
          <a:p>
            <a:pPr marL="342900" indent="-342900">
              <a:buFont typeface="Arial" panose="020B0604020202020204" pitchFamily="34" charset="0"/>
              <a:buChar char="•"/>
            </a:pPr>
            <a:r>
              <a:rPr lang="en-US" sz="1400" spc="-15">
                <a:solidFill>
                  <a:schemeClr val="bg1"/>
                </a:solidFill>
                <a:latin typeface="+mj-lt"/>
              </a:rPr>
              <a:t>The greatest opportunity for growth is 50-250 Career segment.</a:t>
            </a:r>
          </a:p>
          <a:p>
            <a:pPr marL="342900" indent="-342900">
              <a:buFont typeface="Arial" panose="020B0604020202020204" pitchFamily="34" charset="0"/>
              <a:buChar char="•"/>
            </a:pPr>
            <a:endParaRPr lang="en-US" sz="1400" spc="-15">
              <a:solidFill>
                <a:schemeClr val="bg1"/>
              </a:solidFill>
              <a:latin typeface="+mj-lt"/>
            </a:endParaRPr>
          </a:p>
          <a:p>
            <a:pPr marL="342900" indent="-342900">
              <a:buFont typeface="Arial" panose="020B0604020202020204" pitchFamily="34" charset="0"/>
              <a:buChar char="•"/>
            </a:pPr>
            <a:r>
              <a:rPr lang="en-US" sz="1400" spc="-15">
                <a:solidFill>
                  <a:schemeClr val="bg1"/>
                </a:solidFill>
                <a:latin typeface="+mj-lt"/>
              </a:rPr>
              <a:t>Small mostly volunteer and medium volunteer are a significant opportunity, nevertheless the feasibility of adoption in smaller departments may be limited. </a:t>
            </a:r>
          </a:p>
        </p:txBody>
      </p:sp>
      <p:sp>
        <p:nvSpPr>
          <p:cNvPr id="4" name="CuadroTexto 23">
            <a:extLst>
              <a:ext uri="{FF2B5EF4-FFF2-40B4-BE49-F238E27FC236}">
                <a16:creationId xmlns:a16="http://schemas.microsoft.com/office/drawing/2014/main" id="{B025B2BF-843F-DDDD-FD55-0D0AE2E2670B}"/>
              </a:ext>
            </a:extLst>
          </p:cNvPr>
          <p:cNvSpPr txBox="1"/>
          <p:nvPr/>
        </p:nvSpPr>
        <p:spPr>
          <a:xfrm>
            <a:off x="856169" y="1103441"/>
            <a:ext cx="4815585" cy="338554"/>
          </a:xfrm>
          <a:prstGeom prst="rect">
            <a:avLst/>
          </a:prstGeom>
          <a:noFill/>
        </p:spPr>
        <p:txBody>
          <a:bodyPr wrap="square" rtlCol="0">
            <a:spAutoFit/>
          </a:bodyPr>
          <a:lstStyle/>
          <a:p>
            <a:pPr algn="ctr"/>
            <a:r>
              <a:rPr lang="en-US" sz="1600" b="1">
                <a:solidFill>
                  <a:srgbClr val="5E3FD1"/>
                </a:solidFill>
                <a:latin typeface="+mj-lt"/>
              </a:rPr>
              <a:t>Fire Departments opportunity by segment</a:t>
            </a:r>
          </a:p>
        </p:txBody>
      </p:sp>
      <p:sp>
        <p:nvSpPr>
          <p:cNvPr id="5" name="TextBox 4">
            <a:extLst>
              <a:ext uri="{FF2B5EF4-FFF2-40B4-BE49-F238E27FC236}">
                <a16:creationId xmlns:a16="http://schemas.microsoft.com/office/drawing/2014/main" id="{9EEB37B6-8529-2FCE-F8B0-0FD057E4FA56}"/>
              </a:ext>
            </a:extLst>
          </p:cNvPr>
          <p:cNvSpPr txBox="1"/>
          <p:nvPr/>
        </p:nvSpPr>
        <p:spPr>
          <a:xfrm>
            <a:off x="985477" y="1476535"/>
            <a:ext cx="1530927" cy="276999"/>
          </a:xfrm>
          <a:prstGeom prst="rect">
            <a:avLst/>
          </a:prstGeom>
          <a:noFill/>
        </p:spPr>
        <p:txBody>
          <a:bodyPr wrap="square">
            <a:spAutoFit/>
          </a:bodyPr>
          <a:lstStyle/>
          <a:p>
            <a:r>
              <a:rPr lang="en-US" sz="1200">
                <a:latin typeface="+mj-lt"/>
              </a:rPr>
              <a:t>US$ MM</a:t>
            </a:r>
          </a:p>
        </p:txBody>
      </p:sp>
      <p:sp>
        <p:nvSpPr>
          <p:cNvPr id="7" name="TextBox 6">
            <a:extLst>
              <a:ext uri="{FF2B5EF4-FFF2-40B4-BE49-F238E27FC236}">
                <a16:creationId xmlns:a16="http://schemas.microsoft.com/office/drawing/2014/main" id="{D1161E8A-DA21-758B-A69A-80110BBD2EE3}"/>
              </a:ext>
            </a:extLst>
          </p:cNvPr>
          <p:cNvSpPr txBox="1"/>
          <p:nvPr/>
        </p:nvSpPr>
        <p:spPr>
          <a:xfrm>
            <a:off x="8839185" y="101471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13" name="Group 12">
            <a:extLst>
              <a:ext uri="{FF2B5EF4-FFF2-40B4-BE49-F238E27FC236}">
                <a16:creationId xmlns:a16="http://schemas.microsoft.com/office/drawing/2014/main" id="{1A9B2C22-4C6A-83AD-6412-BF469D3C266E}"/>
              </a:ext>
            </a:extLst>
          </p:cNvPr>
          <p:cNvGrpSpPr/>
          <p:nvPr/>
        </p:nvGrpSpPr>
        <p:grpSpPr>
          <a:xfrm>
            <a:off x="8853188" y="1020059"/>
            <a:ext cx="3141553" cy="266640"/>
            <a:chOff x="8853189" y="1020059"/>
            <a:chExt cx="888390" cy="235526"/>
          </a:xfrm>
        </p:grpSpPr>
        <p:cxnSp>
          <p:nvCxnSpPr>
            <p:cNvPr id="8" name="Straight Connector 7">
              <a:extLst>
                <a:ext uri="{FF2B5EF4-FFF2-40B4-BE49-F238E27FC236}">
                  <a16:creationId xmlns:a16="http://schemas.microsoft.com/office/drawing/2014/main" id="{2DB8E1E6-B6E0-5B2F-ED1C-B57F9C742874}"/>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CEDDC90-68B4-979A-53E8-89C1809FCEF1}"/>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40" name="TextBox 14">
            <a:extLst>
              <a:ext uri="{FF2B5EF4-FFF2-40B4-BE49-F238E27FC236}">
                <a16:creationId xmlns:a16="http://schemas.microsoft.com/office/drawing/2014/main" id="{331AC2DE-7141-9101-752C-A158164A0DED}"/>
              </a:ext>
            </a:extLst>
          </p:cNvPr>
          <p:cNvSpPr txBox="1"/>
          <p:nvPr/>
        </p:nvSpPr>
        <p:spPr>
          <a:xfrm>
            <a:off x="873299" y="6304031"/>
            <a:ext cx="10130261" cy="646331"/>
          </a:xfrm>
          <a:prstGeom prst="rect">
            <a:avLst/>
          </a:prstGeom>
          <a:noFill/>
        </p:spPr>
        <p:txBody>
          <a:bodyPr wrap="square" lIns="91440" tIns="45720" rIns="91440" bIns="45720" rtlCol="0" anchor="b">
            <a:spAutoFit/>
          </a:bodyPr>
          <a:lstStyle/>
          <a:p>
            <a:r>
              <a:rPr lang="en-US" sz="900" spc="-15">
                <a:solidFill>
                  <a:schemeClr val="tx1">
                    <a:lumMod val="50000"/>
                  </a:schemeClr>
                </a:solidFill>
                <a:latin typeface="+mj-lt"/>
                <a:cs typeface="Poppins"/>
              </a:rPr>
              <a:t>Note: </a:t>
            </a:r>
            <a:endParaRPr lang="en-US" sz="900" spc="-15">
              <a:solidFill>
                <a:schemeClr val="tx1">
                  <a:lumMod val="50000"/>
                </a:schemeClr>
              </a:solidFill>
              <a:latin typeface="+mj-lt"/>
              <a:cs typeface="Poppins" pitchFamily="2" charset="77"/>
            </a:endParaRPr>
          </a:p>
          <a:p>
            <a:pPr marL="228600" indent="-228600">
              <a:buAutoNum type="arabicPeriod"/>
            </a:pPr>
            <a:r>
              <a:rPr lang="en-US" sz="900" spc="-15">
                <a:solidFill>
                  <a:schemeClr val="tx1">
                    <a:lumMod val="50000"/>
                  </a:schemeClr>
                </a:solidFill>
                <a:latin typeface="+mj-lt"/>
                <a:cs typeface="Poppins"/>
              </a:rPr>
              <a:t>Around 70% of the departments in the 50-250 segment have less than 100 officers</a:t>
            </a:r>
          </a:p>
          <a:p>
            <a:pPr marL="228600" indent="-228600">
              <a:buAutoNum type="arabicPeriod"/>
            </a:pPr>
            <a:r>
              <a:rPr lang="en-US" sz="900" spc="-15">
                <a:solidFill>
                  <a:schemeClr val="tx1">
                    <a:lumMod val="50000"/>
                  </a:schemeClr>
                </a:solidFill>
                <a:latin typeface="+mj-lt"/>
                <a:cs typeface="Poppins"/>
              </a:rPr>
              <a:t>Volunteer and Mostly volunteer prices are assumed to be 30% lower than career prices</a:t>
            </a:r>
          </a:p>
          <a:p>
            <a:pPr algn="ctr"/>
            <a:endParaRPr lang="en-US" sz="900" spc="-15">
              <a:solidFill>
                <a:schemeClr val="tx1">
                  <a:lumMod val="50000"/>
                </a:schemeClr>
              </a:solidFill>
              <a:latin typeface="+mj-lt"/>
              <a:cs typeface="Poppins" pitchFamily="2" charset="77"/>
            </a:endParaRPr>
          </a:p>
        </p:txBody>
      </p:sp>
      <p:pic>
        <p:nvPicPr>
          <p:cNvPr id="12" name="Picture 2" descr="Global Property Management Group Odevo Continues U.S. Expansion With ...">
            <a:extLst>
              <a:ext uri="{FF2B5EF4-FFF2-40B4-BE49-F238E27FC236}">
                <a16:creationId xmlns:a16="http://schemas.microsoft.com/office/drawing/2014/main" id="{88526BC6-3ACA-766B-76BD-E69C72F30A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1937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p:nvPr/>
        </p:nvSpPr>
        <p:spPr>
          <a:xfrm>
            <a:off x="-1440870" y="5115835"/>
            <a:ext cx="3415140" cy="3415140"/>
          </a:xfrm>
          <a:custGeom>
            <a:avLst/>
            <a:gdLst/>
            <a:ahLst/>
            <a:cxnLst/>
            <a:rect l="l" t="t" r="r" b="b"/>
            <a:pathLst>
              <a:path w="5122710" h="5122710">
                <a:moveTo>
                  <a:pt x="0" y="0"/>
                </a:moveTo>
                <a:lnTo>
                  <a:pt x="5122710" y="0"/>
                </a:lnTo>
                <a:lnTo>
                  <a:pt x="5122710" y="5122710"/>
                </a:lnTo>
                <a:lnTo>
                  <a:pt x="0" y="512271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2050" name="Picture 2" descr="Global Property Management Group Odevo Continues U.S. Expansion With ...">
            <a:extLst>
              <a:ext uri="{FF2B5EF4-FFF2-40B4-BE49-F238E27FC236}">
                <a16:creationId xmlns:a16="http://schemas.microsoft.com/office/drawing/2014/main" id="{DBCE418B-51E1-DD9D-1C1D-19C248BBD1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
            <a:extLst>
              <a:ext uri="{FF2B5EF4-FFF2-40B4-BE49-F238E27FC236}">
                <a16:creationId xmlns:a16="http://schemas.microsoft.com/office/drawing/2014/main" id="{F7851A6A-B8AD-F4F1-2396-67EDBFD7A6DB}"/>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Interview results for a B2B payment company</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8" name="Rectángulo 7">
            <a:extLst>
              <a:ext uri="{FF2B5EF4-FFF2-40B4-BE49-F238E27FC236}">
                <a16:creationId xmlns:a16="http://schemas.microsoft.com/office/drawing/2014/main" id="{3E4AC76F-5938-4B8F-B4C3-A8B99125BAEA}"/>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2" name="Title 1">
            <a:extLst>
              <a:ext uri="{FF2B5EF4-FFF2-40B4-BE49-F238E27FC236}">
                <a16:creationId xmlns:a16="http://schemas.microsoft.com/office/drawing/2014/main" id="{BFC75868-147F-BCBF-F637-957AFBB4B00F}"/>
              </a:ext>
            </a:extLst>
          </p:cNvPr>
          <p:cNvSpPr txBox="1">
            <a:spLocks/>
          </p:cNvSpPr>
          <p:nvPr/>
        </p:nvSpPr>
        <p:spPr>
          <a:xfrm>
            <a:off x="774867" y="405855"/>
            <a:ext cx="10550013" cy="798836"/>
          </a:xfrm>
          <a:prstGeom prst="rect">
            <a:avLst/>
          </a:prstGeom>
        </p:spPr>
        <p:txBody>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dirty="0"/>
              <a:t>Global payments industry - Volume</a:t>
            </a:r>
          </a:p>
        </p:txBody>
      </p:sp>
      <p:sp>
        <p:nvSpPr>
          <p:cNvPr id="4" name="TextBox 137">
            <a:extLst>
              <a:ext uri="{FF2B5EF4-FFF2-40B4-BE49-F238E27FC236}">
                <a16:creationId xmlns:a16="http://schemas.microsoft.com/office/drawing/2014/main" id="{324B47F1-6992-1C0A-F981-5FC36AC810F1}"/>
              </a:ext>
            </a:extLst>
          </p:cNvPr>
          <p:cNvSpPr txBox="1"/>
          <p:nvPr/>
        </p:nvSpPr>
        <p:spPr>
          <a:xfrm>
            <a:off x="958963" y="6055948"/>
            <a:ext cx="1015907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A2B48"/>
                </a:solidFill>
                <a:effectLst/>
                <a:uLnTx/>
                <a:uFillTx/>
                <a:latin typeface="Mulish"/>
                <a:ea typeface="+mn-ea"/>
                <a:cs typeface="+mn-cs"/>
              </a:rPr>
              <a:t>https://research-doc.credit-suisse.com/docView?language=ENG&amp;format=PDF&amp;sourceid=em&amp;document_id=1083376791&amp;serialid=Xv39ocygAc3ZfJnVd7%2Bd46T7aoIwVSA1Nyw3xJ%2Fgi0o%3D&amp;cspId=nu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A2B48"/>
                </a:solidFill>
                <a:effectLst/>
                <a:uLnTx/>
                <a:uFillTx/>
                <a:latin typeface="Mulish"/>
                <a:ea typeface="+mn-ea"/>
                <a:cs typeface="+mn-cs"/>
                <a:hlinkClick r:id="rId5"/>
              </a:rPr>
              <a:t>https://www.mastercard.us/content/dam/public/mastercardcom/na/us/en/documents/business-payments-2022-whitepaper.pdf</a:t>
            </a:r>
            <a:endParaRPr kumimoji="0" lang="en-US" sz="900" b="0" i="0" u="none" strike="noStrike" kern="1200" cap="none" spc="0" normalizeH="0" baseline="0" noProof="0" dirty="0">
              <a:ln>
                <a:noFill/>
              </a:ln>
              <a:solidFill>
                <a:srgbClr val="1A2B48"/>
              </a:solidFill>
              <a:effectLst/>
              <a:uLnTx/>
              <a:uFillTx/>
              <a:latin typeface="Mulish"/>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A2B48"/>
                </a:solidFill>
                <a:effectLst/>
                <a:uLnTx/>
                <a:uFillTx/>
                <a:latin typeface="Mulish"/>
                <a:ea typeface="+mn-ea"/>
                <a:cs typeface="+mn-cs"/>
              </a:rPr>
              <a:t>https://web-assets.bcg.com/58/30/e7773b6a4c29b79b3673ab21ef66/bcg-global-payments-2021-report-all-in-for-growth-oct-2021-r.pdf</a:t>
            </a:r>
          </a:p>
        </p:txBody>
      </p:sp>
      <p:sp>
        <p:nvSpPr>
          <p:cNvPr id="6" name="Speech Bubble: Rectangle 139">
            <a:extLst>
              <a:ext uri="{FF2B5EF4-FFF2-40B4-BE49-F238E27FC236}">
                <a16:creationId xmlns:a16="http://schemas.microsoft.com/office/drawing/2014/main" id="{4E5F52E7-BDA7-4955-4854-0FDABDB31F33}"/>
              </a:ext>
            </a:extLst>
          </p:cNvPr>
          <p:cNvSpPr/>
          <p:nvPr/>
        </p:nvSpPr>
        <p:spPr>
          <a:xfrm>
            <a:off x="2936290" y="1016760"/>
            <a:ext cx="7206660" cy="794352"/>
          </a:xfrm>
          <a:prstGeom prst="wedgeRectCallout">
            <a:avLst>
              <a:gd name="adj1" fmla="val -15452"/>
              <a:gd name="adj2" fmla="val 35246"/>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ulish"/>
                <a:ea typeface="+mn-ea"/>
                <a:cs typeface="+mn-cs"/>
              </a:rPr>
              <a:t>Global payments volume TAM is bigger than global GDP. “Global payments volume (~$240tr) is bigger than global GDP (~$85tr) because multiple payments are made for the same level of output or production.” – Credit Suisse</a:t>
            </a:r>
          </a:p>
        </p:txBody>
      </p:sp>
      <p:sp>
        <p:nvSpPr>
          <p:cNvPr id="7" name="Speech Bubble: Rectangle 139">
            <a:extLst>
              <a:ext uri="{FF2B5EF4-FFF2-40B4-BE49-F238E27FC236}">
                <a16:creationId xmlns:a16="http://schemas.microsoft.com/office/drawing/2014/main" id="{655E9492-48F2-5214-1FBA-A7F50E33CB06}"/>
              </a:ext>
            </a:extLst>
          </p:cNvPr>
          <p:cNvSpPr/>
          <p:nvPr/>
        </p:nvSpPr>
        <p:spPr>
          <a:xfrm>
            <a:off x="1080426" y="1945637"/>
            <a:ext cx="5140113" cy="794351"/>
          </a:xfrm>
          <a:prstGeom prst="wedgeRectCallout">
            <a:avLst>
              <a:gd name="adj1" fmla="val -15452"/>
              <a:gd name="adj2" fmla="val 35246"/>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ulish"/>
                <a:ea typeface="+mn-ea"/>
                <a:cs typeface="+mn-cs"/>
              </a:rPr>
              <a:t>Global payments TAM (total addressable market) across card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ulish"/>
                <a:ea typeface="+mn-ea"/>
                <a:cs typeface="+mn-cs"/>
              </a:rPr>
              <a:t>ACH, and cash &amp; check totals to ~$24tr, with only ~13% carded</a:t>
            </a:r>
          </a:p>
        </p:txBody>
      </p:sp>
      <p:pic>
        <p:nvPicPr>
          <p:cNvPr id="9" name="Gráfico 8">
            <a:extLst>
              <a:ext uri="{FF2B5EF4-FFF2-40B4-BE49-F238E27FC236}">
                <a16:creationId xmlns:a16="http://schemas.microsoft.com/office/drawing/2014/main" id="{CEA8348A-01F3-E24C-D9B2-801DB67D70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167573" y="2926556"/>
            <a:ext cx="4965817" cy="2895323"/>
          </a:xfrm>
          <a:prstGeom prst="rect">
            <a:avLst/>
          </a:prstGeom>
        </p:spPr>
      </p:pic>
      <p:sp>
        <p:nvSpPr>
          <p:cNvPr id="10" name="Speech Bubble: Rectangle 139">
            <a:extLst>
              <a:ext uri="{FF2B5EF4-FFF2-40B4-BE49-F238E27FC236}">
                <a16:creationId xmlns:a16="http://schemas.microsoft.com/office/drawing/2014/main" id="{9760EA4A-C42A-CC1D-BBE7-F07FE6937500}"/>
              </a:ext>
            </a:extLst>
          </p:cNvPr>
          <p:cNvSpPr/>
          <p:nvPr/>
        </p:nvSpPr>
        <p:spPr>
          <a:xfrm>
            <a:off x="6813715" y="1945637"/>
            <a:ext cx="4749010" cy="794352"/>
          </a:xfrm>
          <a:prstGeom prst="wedgeRectCallout">
            <a:avLst>
              <a:gd name="adj1" fmla="val -15452"/>
              <a:gd name="adj2" fmla="val 35246"/>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ulish"/>
                <a:ea typeface="+mn-ea"/>
                <a:cs typeface="+mn-cs"/>
              </a:rPr>
              <a:t>The US payments market has a large TAM, estimated at ~$50tr in volumes when viewed in its entirety (PCE, B2B, G2B, P2P, B2C, and G2C), with ~50% + of consumer payments penetrated and ~5% of B2B </a:t>
            </a:r>
          </a:p>
        </p:txBody>
      </p:sp>
      <p:pic>
        <p:nvPicPr>
          <p:cNvPr id="11" name="Gráfico 10">
            <a:extLst>
              <a:ext uri="{FF2B5EF4-FFF2-40B4-BE49-F238E27FC236}">
                <a16:creationId xmlns:a16="http://schemas.microsoft.com/office/drawing/2014/main" id="{777FB3C6-52EA-AD7D-2ABB-5E842924EFA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705311" y="2965172"/>
            <a:ext cx="4965817" cy="2847068"/>
          </a:xfrm>
          <a:prstGeom prst="rect">
            <a:avLst/>
          </a:prstGeom>
        </p:spPr>
      </p:pic>
      <p:sp>
        <p:nvSpPr>
          <p:cNvPr id="3" name="TextBox 2">
            <a:extLst>
              <a:ext uri="{FF2B5EF4-FFF2-40B4-BE49-F238E27FC236}">
                <a16:creationId xmlns:a16="http://schemas.microsoft.com/office/drawing/2014/main" id="{BCC60216-B0E2-C1E0-F3DB-19FAD8D11D81}"/>
              </a:ext>
            </a:extLst>
          </p:cNvPr>
          <p:cNvSpPr txBox="1"/>
          <p:nvPr/>
        </p:nvSpPr>
        <p:spPr>
          <a:xfrm>
            <a:off x="8839185" y="57656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12" name="Group 11">
            <a:extLst>
              <a:ext uri="{FF2B5EF4-FFF2-40B4-BE49-F238E27FC236}">
                <a16:creationId xmlns:a16="http://schemas.microsoft.com/office/drawing/2014/main" id="{0812E123-0F55-CA6A-1821-8B0ECFBAC5F0}"/>
              </a:ext>
            </a:extLst>
          </p:cNvPr>
          <p:cNvGrpSpPr/>
          <p:nvPr/>
        </p:nvGrpSpPr>
        <p:grpSpPr>
          <a:xfrm>
            <a:off x="8853188" y="581909"/>
            <a:ext cx="3141553" cy="266640"/>
            <a:chOff x="8853189" y="1020059"/>
            <a:chExt cx="888390" cy="235526"/>
          </a:xfrm>
        </p:grpSpPr>
        <p:cxnSp>
          <p:nvCxnSpPr>
            <p:cNvPr id="13" name="Straight Connector 12">
              <a:extLst>
                <a:ext uri="{FF2B5EF4-FFF2-40B4-BE49-F238E27FC236}">
                  <a16:creationId xmlns:a16="http://schemas.microsoft.com/office/drawing/2014/main" id="{86859B3D-12E3-72F1-3AD4-A0E0F8C07345}"/>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18CF1FE-B5EB-8A27-345F-38E6F85BA214}"/>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32958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ángulo 254">
            <a:extLst>
              <a:ext uri="{FF2B5EF4-FFF2-40B4-BE49-F238E27FC236}">
                <a16:creationId xmlns:a16="http://schemas.microsoft.com/office/drawing/2014/main" id="{BF801C84-8C0C-F330-D65F-9CB048C643ED}"/>
              </a:ext>
            </a:extLst>
          </p:cNvPr>
          <p:cNvSpPr/>
          <p:nvPr/>
        </p:nvSpPr>
        <p:spPr>
          <a:xfrm>
            <a:off x="-20573" y="-77822"/>
            <a:ext cx="4008938" cy="6183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50" name="bg object 16">
            <a:extLst>
              <a:ext uri="{FF2B5EF4-FFF2-40B4-BE49-F238E27FC236}">
                <a16:creationId xmlns:a16="http://schemas.microsoft.com/office/drawing/2014/main" id="{B2B6884F-5F3A-E0D1-E0AC-5852BF5DAE2C}"/>
              </a:ext>
            </a:extLst>
          </p:cNvPr>
          <p:cNvSpPr/>
          <p:nvPr/>
        </p:nvSpPr>
        <p:spPr>
          <a:xfrm>
            <a:off x="8548634" y="-77821"/>
            <a:ext cx="3664585" cy="1419749"/>
          </a:xfrm>
          <a:custGeom>
            <a:avLst/>
            <a:gdLst/>
            <a:ahLst/>
            <a:cxnLst/>
            <a:rect l="l" t="t" r="r" b="b"/>
            <a:pathLst>
              <a:path w="3664584" h="1221739">
                <a:moveTo>
                  <a:pt x="0" y="1221460"/>
                </a:moveTo>
                <a:lnTo>
                  <a:pt x="3664381" y="1221460"/>
                </a:lnTo>
                <a:lnTo>
                  <a:pt x="3664381" y="0"/>
                </a:lnTo>
                <a:lnTo>
                  <a:pt x="0" y="0"/>
                </a:lnTo>
                <a:lnTo>
                  <a:pt x="0" y="1221460"/>
                </a:lnTo>
                <a:close/>
              </a:path>
            </a:pathLst>
          </a:custGeom>
          <a:solidFill>
            <a:srgbClr val="8A88C7"/>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3" name="bg object 19">
            <a:extLst>
              <a:ext uri="{FF2B5EF4-FFF2-40B4-BE49-F238E27FC236}">
                <a16:creationId xmlns:a16="http://schemas.microsoft.com/office/drawing/2014/main" id="{795E4931-AE54-AEC7-628B-40C432ED2CD7}"/>
              </a:ext>
            </a:extLst>
          </p:cNvPr>
          <p:cNvSpPr/>
          <p:nvPr/>
        </p:nvSpPr>
        <p:spPr>
          <a:xfrm>
            <a:off x="3244712" y="-56304"/>
            <a:ext cx="5303921" cy="6914304"/>
          </a:xfrm>
          <a:custGeom>
            <a:avLst/>
            <a:gdLst/>
            <a:ahLst/>
            <a:cxnLst/>
            <a:rect l="l" t="t" r="r" b="b"/>
            <a:pathLst>
              <a:path w="8183880" h="2945765">
                <a:moveTo>
                  <a:pt x="8183270" y="0"/>
                </a:moveTo>
                <a:lnTo>
                  <a:pt x="0" y="0"/>
                </a:lnTo>
                <a:lnTo>
                  <a:pt x="0" y="2945485"/>
                </a:lnTo>
                <a:lnTo>
                  <a:pt x="8183270" y="2945485"/>
                </a:lnTo>
                <a:lnTo>
                  <a:pt x="8183270" y="0"/>
                </a:lnTo>
                <a:close/>
              </a:path>
            </a:pathLst>
          </a:custGeom>
          <a:solidFill>
            <a:srgbClr val="8980F6"/>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highlight>
                <a:srgbClr val="B6A7D3"/>
              </a:highligh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4" name="bg object 20">
            <a:extLst>
              <a:ext uri="{FF2B5EF4-FFF2-40B4-BE49-F238E27FC236}">
                <a16:creationId xmlns:a16="http://schemas.microsoft.com/office/drawing/2014/main" id="{87300C3D-5135-1B2B-0EDC-2E9D4111661B}"/>
              </a:ext>
            </a:extLst>
          </p:cNvPr>
          <p:cNvSpPr/>
          <p:nvPr/>
        </p:nvSpPr>
        <p:spPr>
          <a:xfrm>
            <a:off x="-59072" y="5380867"/>
            <a:ext cx="8607705" cy="1544852"/>
          </a:xfrm>
          <a:custGeom>
            <a:avLst/>
            <a:gdLst/>
            <a:ahLst/>
            <a:cxnLst/>
            <a:rect l="l" t="t" r="r" b="b"/>
            <a:pathLst>
              <a:path w="12193270" h="1400175">
                <a:moveTo>
                  <a:pt x="12193206" y="0"/>
                </a:moveTo>
                <a:lnTo>
                  <a:pt x="0" y="0"/>
                </a:lnTo>
                <a:lnTo>
                  <a:pt x="0" y="1399616"/>
                </a:lnTo>
                <a:lnTo>
                  <a:pt x="12193206" y="1399616"/>
                </a:lnTo>
                <a:lnTo>
                  <a:pt x="12193206" y="0"/>
                </a:lnTo>
                <a:close/>
              </a:path>
            </a:pathLst>
          </a:custGeom>
          <a:solidFill>
            <a:schemeClr val="accent4"/>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192" name="object 2">
            <a:extLst>
              <a:ext uri="{FF2B5EF4-FFF2-40B4-BE49-F238E27FC236}">
                <a16:creationId xmlns:a16="http://schemas.microsoft.com/office/drawing/2014/main" id="{AB358DD3-4D52-0F22-8DE3-EC16CA46AF2B}"/>
              </a:ext>
            </a:extLst>
          </p:cNvPr>
          <p:cNvSpPr txBox="1"/>
          <p:nvPr/>
        </p:nvSpPr>
        <p:spPr>
          <a:xfrm>
            <a:off x="1098262" y="1595041"/>
            <a:ext cx="1391491" cy="382797"/>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n-US" sz="2400" b="1" i="0" u="none" strike="noStrike" kern="1200" cap="none" spc="0" normalizeH="0" baseline="0" noProof="0" dirty="0">
                <a:ln>
                  <a:noFill/>
                </a:ln>
                <a:solidFill>
                  <a:srgbClr val="8980F6"/>
                </a:solidFill>
                <a:effectLst/>
                <a:uLnTx/>
                <a:uFillTx/>
                <a:latin typeface="Poppins" pitchFamily="2" charset="77"/>
                <a:ea typeface="+mn-ea"/>
                <a:cs typeface="Poppins" pitchFamily="2" charset="77"/>
              </a:rPr>
              <a:t>PHASE</a:t>
            </a:r>
          </a:p>
        </p:txBody>
      </p:sp>
      <p:sp>
        <p:nvSpPr>
          <p:cNvPr id="193" name="object 3">
            <a:extLst>
              <a:ext uri="{FF2B5EF4-FFF2-40B4-BE49-F238E27FC236}">
                <a16:creationId xmlns:a16="http://schemas.microsoft.com/office/drawing/2014/main" id="{1EE053BD-7733-BC77-6A21-F24185BC521C}"/>
              </a:ext>
            </a:extLst>
          </p:cNvPr>
          <p:cNvSpPr txBox="1"/>
          <p:nvPr/>
        </p:nvSpPr>
        <p:spPr>
          <a:xfrm>
            <a:off x="402397" y="2068877"/>
            <a:ext cx="3155717" cy="382156"/>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err="1">
                <a:solidFill>
                  <a:srgbClr val="535353"/>
                </a:solidFill>
                <a:latin typeface="Poppins Medium" pitchFamily="2" charset="77"/>
                <a:cs typeface="Poppins Medium" pitchFamily="2" charset="77"/>
              </a:rPr>
              <a:t>Market</a:t>
            </a:r>
            <a:r>
              <a:rPr lang="es-CO" sz="1200" dirty="0">
                <a:solidFill>
                  <a:srgbClr val="535353"/>
                </a:solidFill>
                <a:latin typeface="Poppins Medium" pitchFamily="2" charset="77"/>
                <a:cs typeface="Poppins Medium" pitchFamily="2" charset="77"/>
              </a:rPr>
              <a:t> size analysis</a:t>
            </a:r>
            <a:r>
              <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Duration: 3 weeks.</a:t>
            </a:r>
          </a:p>
        </p:txBody>
      </p:sp>
      <p:sp>
        <p:nvSpPr>
          <p:cNvPr id="199" name="object 9">
            <a:extLst>
              <a:ext uri="{FF2B5EF4-FFF2-40B4-BE49-F238E27FC236}">
                <a16:creationId xmlns:a16="http://schemas.microsoft.com/office/drawing/2014/main" id="{B158BF8A-EB5E-D813-1DD2-A48931D7125D}"/>
              </a:ext>
            </a:extLst>
          </p:cNvPr>
          <p:cNvSpPr txBox="1"/>
          <p:nvPr/>
        </p:nvSpPr>
        <p:spPr>
          <a:xfrm>
            <a:off x="1235272" y="6027382"/>
            <a:ext cx="7189509" cy="382156"/>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Gain in-depth insights into the specific requirements and challenges faced by clients to tailor services and enhance customer satisfaction.</a:t>
            </a:r>
          </a:p>
        </p:txBody>
      </p:sp>
      <p:sp>
        <p:nvSpPr>
          <p:cNvPr id="200" name="object 10">
            <a:extLst>
              <a:ext uri="{FF2B5EF4-FFF2-40B4-BE49-F238E27FC236}">
                <a16:creationId xmlns:a16="http://schemas.microsoft.com/office/drawing/2014/main" id="{8C6AA9F5-FF9D-D505-3D6B-9A7D7F371F29}"/>
              </a:ext>
            </a:extLst>
          </p:cNvPr>
          <p:cNvSpPr txBox="1"/>
          <p:nvPr/>
        </p:nvSpPr>
        <p:spPr>
          <a:xfrm>
            <a:off x="8727428" y="53816"/>
            <a:ext cx="3336757" cy="894476"/>
          </a:xfrm>
          <a:prstGeom prst="rect">
            <a:avLst/>
          </a:prstGeom>
        </p:spPr>
        <p:txBody>
          <a:bodyPr vert="horz" wrap="square" lIns="0" tIns="154305"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Deliverable – Foundational understanding of the client and analysis of the interviews</a:t>
            </a:r>
          </a:p>
        </p:txBody>
      </p:sp>
      <p:sp>
        <p:nvSpPr>
          <p:cNvPr id="208" name="object 18">
            <a:extLst>
              <a:ext uri="{FF2B5EF4-FFF2-40B4-BE49-F238E27FC236}">
                <a16:creationId xmlns:a16="http://schemas.microsoft.com/office/drawing/2014/main" id="{DA81DA77-AF07-3822-A60C-F2F45DDD23F6}"/>
              </a:ext>
            </a:extLst>
          </p:cNvPr>
          <p:cNvSpPr txBox="1"/>
          <p:nvPr/>
        </p:nvSpPr>
        <p:spPr>
          <a:xfrm>
            <a:off x="3420769" y="841879"/>
            <a:ext cx="4978831" cy="3906198"/>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300"/>
              </a:spcBef>
              <a:spcAft>
                <a:spcPts val="0"/>
              </a:spcAft>
              <a:buClrTx/>
              <a:buSzTx/>
              <a:buFontTx/>
              <a:buNone/>
              <a:tabLst/>
              <a:defRPr/>
            </a:pPr>
            <a:r>
              <a:rPr kumimoji="0" lang="es-419" sz="1050" b="1" i="0" u="none" strike="noStrike" kern="100" cap="none" spc="0" normalizeH="0" baseline="0" noProof="0" dirty="0">
                <a:ln>
                  <a:noFill/>
                </a:ln>
                <a:solidFill>
                  <a:srgbClr val="FFFFFF"/>
                </a:solidFill>
                <a:effectLst/>
                <a:uLnTx/>
                <a:uFillTx/>
                <a:latin typeface="Poppins"/>
                <a:ea typeface="Calibri"/>
                <a:cs typeface="Poppins ExtraLight"/>
              </a:rPr>
              <a:t>50 CLIENT INTERVIEWS:</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Virtual video conference</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Duration: </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1 hour</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Profile: </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Residential complex managers and association board members with hands-on experience in property management, deep understanding of client needs and pain points, and familiarity with current service providers and industry challenges.</a:t>
            </a:r>
          </a:p>
          <a:p>
            <a:pPr marL="12700" marR="5080" lvl="0" algn="l" defTabSz="914400" rtl="0" eaLnBrk="1" fontAlgn="auto" latinLnBrk="0" hangingPunct="1">
              <a:lnSpc>
                <a:spcPct val="100000"/>
              </a:lnSpc>
              <a:spcBef>
                <a:spcPts val="300"/>
              </a:spcBef>
              <a:spcAft>
                <a:spcPts val="0"/>
              </a:spcAft>
              <a:buClrTx/>
              <a:buSzTx/>
              <a:tabLst/>
              <a:defRPr/>
            </a:pPr>
            <a:endParaRPr kumimoji="0" lang="en-US" sz="1050" b="0" i="0" u="none" strike="noStrike" kern="100" cap="none" spc="0" normalizeH="0" baseline="0" noProof="0" dirty="0">
              <a:ln>
                <a:noFill/>
              </a:ln>
              <a:solidFill>
                <a:srgbClr val="FFFFFF"/>
              </a:solidFill>
              <a:effectLst/>
              <a:uLnTx/>
              <a:uFillTx/>
              <a:latin typeface="Poppins"/>
              <a:ea typeface="Calibri"/>
              <a:cs typeface="Poppins ExtraLight"/>
            </a:endParaRPr>
          </a:p>
          <a:p>
            <a:pPr marL="12700" marR="5080" lvl="0" indent="0" algn="l" defTabSz="914400" rtl="0" eaLnBrk="1" fontAlgn="auto" latinLnBrk="0" hangingPunct="1">
              <a:lnSpc>
                <a:spcPct val="100000"/>
              </a:lnSpc>
              <a:spcBef>
                <a:spcPts val="300"/>
              </a:spcBef>
              <a:spcAft>
                <a:spcPts val="0"/>
              </a:spcAft>
              <a:buClrTx/>
              <a:buSzTx/>
              <a:buFontTx/>
              <a:buNone/>
              <a:tabLst/>
              <a:defRPr/>
            </a:pPr>
            <a:r>
              <a:rPr kumimoji="0" lang="en-US" sz="1050" b="0" i="0" u="sng" strike="noStrike" kern="100" cap="none" spc="0" normalizeH="0" baseline="0" noProof="0" dirty="0">
                <a:ln>
                  <a:noFill/>
                </a:ln>
                <a:solidFill>
                  <a:srgbClr val="FFFFFF"/>
                </a:solidFill>
                <a:effectLst/>
                <a:uLnTx/>
                <a:uFillTx/>
                <a:latin typeface="Poppins"/>
                <a:ea typeface="Calibri"/>
                <a:cs typeface="Poppins ExtraLight"/>
              </a:rPr>
              <a:t>Main Topics</a:t>
            </a:r>
            <a:r>
              <a:rPr kumimoji="0" lang="es-419" sz="1050" b="0" i="0" u="sng" strike="noStrike" kern="100" cap="none" spc="0" normalizeH="0" baseline="0" noProof="0" dirty="0">
                <a:ln>
                  <a:noFill/>
                </a:ln>
                <a:solidFill>
                  <a:srgbClr val="FFFFFF"/>
                </a:solidFill>
                <a:effectLst/>
                <a:uLnTx/>
                <a:uFillTx/>
                <a:latin typeface="Poppins"/>
                <a:ea typeface="Calibri"/>
                <a:cs typeface="Poppins ExtraLight"/>
              </a:rPr>
              <a:t>: </a:t>
            </a:r>
            <a:endParaRPr kumimoji="0" lang="en-US" sz="1050" b="0" i="0" u="sng" strike="noStrike" kern="100" cap="none" spc="0" normalizeH="0" baseline="0" noProof="0" dirty="0">
              <a:ln>
                <a:noFill/>
              </a:ln>
              <a:solidFill>
                <a:srgbClr val="FFFFFF"/>
              </a:solidFill>
              <a:effectLst/>
              <a:uLnTx/>
              <a:uFillTx/>
              <a:latin typeface="Poppins"/>
              <a:ea typeface="Calibri"/>
              <a:cs typeface="Poppins ExtraLight"/>
            </a:endParaRP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Client needs and expectations: </a:t>
            </a:r>
            <a:r>
              <a:rPr kumimoji="0" lang="en-US" sz="1050" i="0" u="none" strike="noStrike" kern="100" cap="none" spc="0" normalizeH="0" baseline="0" noProof="0" dirty="0">
                <a:ln>
                  <a:noFill/>
                </a:ln>
                <a:solidFill>
                  <a:srgbClr val="FFFFFF"/>
                </a:solidFill>
                <a:effectLst/>
                <a:uLnTx/>
                <a:uFillTx/>
                <a:latin typeface="Poppins"/>
                <a:ea typeface="Calibri"/>
                <a:cs typeface="Poppins ExtraLight"/>
              </a:rPr>
              <a:t>Understand the specific needs, expectations, and priorities of residential complex managers and association boards in property management service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Pain </a:t>
            </a:r>
            <a:r>
              <a:rPr lang="en-US" sz="1050" b="1" kern="100" dirty="0">
                <a:solidFill>
                  <a:srgbClr val="FFFFFF"/>
                </a:solidFill>
                <a:latin typeface="Poppins"/>
                <a:ea typeface="Calibri"/>
                <a:cs typeface="Poppins ExtraLight"/>
              </a:rPr>
              <a:t>points</a:t>
            </a: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 and challenges: </a:t>
            </a:r>
            <a:r>
              <a:rPr kumimoji="0" lang="en-US" sz="1050" i="0" u="none" strike="noStrike" kern="100" cap="none" spc="0" normalizeH="0" baseline="0" noProof="0" dirty="0">
                <a:ln>
                  <a:noFill/>
                </a:ln>
                <a:solidFill>
                  <a:srgbClr val="FFFFFF"/>
                </a:solidFill>
                <a:effectLst/>
                <a:uLnTx/>
                <a:uFillTx/>
                <a:latin typeface="Poppins"/>
                <a:ea typeface="Calibri"/>
                <a:cs typeface="Poppins ExtraLight"/>
              </a:rPr>
              <a:t>Identify the primary challenges and pain points they face in managing properties and dealing with current service provider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Provider selection </a:t>
            </a:r>
            <a:r>
              <a:rPr lang="en-US" sz="1050" b="1" kern="100" dirty="0">
                <a:solidFill>
                  <a:srgbClr val="FFFFFF"/>
                </a:solidFill>
                <a:latin typeface="Poppins"/>
                <a:ea typeface="Calibri"/>
                <a:cs typeface="Poppins ExtraLight"/>
              </a:rPr>
              <a:t>criteria</a:t>
            </a: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 </a:t>
            </a:r>
            <a:r>
              <a:rPr kumimoji="0" lang="en-US" sz="1050" i="0" u="none" strike="noStrike" kern="100" cap="none" spc="0" normalizeH="0" baseline="0" noProof="0" dirty="0">
                <a:ln>
                  <a:noFill/>
                </a:ln>
                <a:solidFill>
                  <a:srgbClr val="FFFFFF"/>
                </a:solidFill>
                <a:effectLst/>
                <a:uLnTx/>
                <a:uFillTx/>
                <a:latin typeface="Poppins"/>
                <a:ea typeface="Calibri"/>
                <a:cs typeface="Poppins ExtraLight"/>
              </a:rPr>
              <a:t>Understand the criteria they use when selecting property management service providers and what factors influence their decision-making.</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Innovative practices: </a:t>
            </a:r>
            <a:r>
              <a:rPr kumimoji="0" lang="en-US" sz="1050" i="0" u="none" strike="noStrike" kern="100" cap="none" spc="0" normalizeH="0" baseline="0" noProof="0" dirty="0">
                <a:ln>
                  <a:noFill/>
                </a:ln>
                <a:solidFill>
                  <a:srgbClr val="FFFFFF"/>
                </a:solidFill>
                <a:effectLst/>
                <a:uLnTx/>
                <a:uFillTx/>
                <a:latin typeface="Poppins"/>
                <a:ea typeface="Calibri"/>
                <a:cs typeface="Poppins ExtraLight"/>
              </a:rPr>
              <a:t>Identify any innovative practices they have encountered or would like to see implemented in property management services.</a:t>
            </a:r>
          </a:p>
        </p:txBody>
      </p:sp>
      <p:sp>
        <p:nvSpPr>
          <p:cNvPr id="246" name="object 56">
            <a:extLst>
              <a:ext uri="{FF2B5EF4-FFF2-40B4-BE49-F238E27FC236}">
                <a16:creationId xmlns:a16="http://schemas.microsoft.com/office/drawing/2014/main" id="{F218F018-D89C-BA38-01AA-60E17EAC352F}"/>
              </a:ext>
            </a:extLst>
          </p:cNvPr>
          <p:cNvSpPr txBox="1"/>
          <p:nvPr/>
        </p:nvSpPr>
        <p:spPr>
          <a:xfrm>
            <a:off x="350681" y="1291643"/>
            <a:ext cx="830348" cy="77905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lang="en-US" sz="4950" b="1" spc="-50" dirty="0">
                <a:solidFill>
                  <a:srgbClr val="8980F6"/>
                </a:solidFill>
                <a:latin typeface="Poppins Bold" panose="00000800000000000000" pitchFamily="2" charset="0"/>
                <a:cs typeface="Poppins Bold" panose="00000800000000000000" pitchFamily="2" charset="0"/>
              </a:rPr>
              <a:t>1</a:t>
            </a:r>
            <a:r>
              <a:rPr lang="en-US" sz="3000" b="1" spc="-50" dirty="0">
                <a:solidFill>
                  <a:srgbClr val="8980F6"/>
                </a:solidFill>
                <a:latin typeface="Poppins Bold" panose="00000800000000000000" pitchFamily="2" charset="0"/>
                <a:cs typeface="Poppins Bold" panose="00000800000000000000" pitchFamily="2" charset="0"/>
              </a:rPr>
              <a:t>d</a:t>
            </a:r>
            <a:endParaRPr kumimoji="0" lang="en-US" sz="3000" b="0" i="0" u="none" strike="noStrike" kern="1200" cap="none" spc="0" normalizeH="0" baseline="0" noProof="0" dirty="0">
              <a:ln>
                <a:noFill/>
              </a:ln>
              <a:solidFill>
                <a:srgbClr val="8980F6"/>
              </a:solidFill>
              <a:effectLst/>
              <a:uLnTx/>
              <a:uFillTx/>
              <a:latin typeface="Poppins Bold" panose="00000800000000000000" pitchFamily="2" charset="0"/>
              <a:ea typeface="+mn-ea"/>
              <a:cs typeface="Poppins Bold" panose="00000800000000000000" pitchFamily="2" charset="0"/>
            </a:endParaRPr>
          </a:p>
        </p:txBody>
      </p:sp>
      <p:sp>
        <p:nvSpPr>
          <p:cNvPr id="271" name="Rectángulo 270">
            <a:extLst>
              <a:ext uri="{FF2B5EF4-FFF2-40B4-BE49-F238E27FC236}">
                <a16:creationId xmlns:a16="http://schemas.microsoft.com/office/drawing/2014/main" id="{6B871234-5775-ECE8-C0FD-6B94BD321F22}"/>
              </a:ext>
            </a:extLst>
          </p:cNvPr>
          <p:cNvSpPr/>
          <p:nvPr/>
        </p:nvSpPr>
        <p:spPr>
          <a:xfrm>
            <a:off x="3061983" y="1102889"/>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4" name="Triángulo 283">
            <a:extLst>
              <a:ext uri="{FF2B5EF4-FFF2-40B4-BE49-F238E27FC236}">
                <a16:creationId xmlns:a16="http://schemas.microsoft.com/office/drawing/2014/main" id="{A454517C-5191-C216-E2E2-1839A0C0D24D}"/>
              </a:ext>
            </a:extLst>
          </p:cNvPr>
          <p:cNvSpPr/>
          <p:nvPr/>
        </p:nvSpPr>
        <p:spPr>
          <a:xfrm rot="5400000">
            <a:off x="2975514" y="300244"/>
            <a:ext cx="538396" cy="464134"/>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6" name="Triángulo 285">
            <a:extLst>
              <a:ext uri="{FF2B5EF4-FFF2-40B4-BE49-F238E27FC236}">
                <a16:creationId xmlns:a16="http://schemas.microsoft.com/office/drawing/2014/main" id="{B5A01591-04DD-52AE-D1C5-A361D6800D63}"/>
              </a:ext>
            </a:extLst>
          </p:cNvPr>
          <p:cNvSpPr/>
          <p:nvPr/>
        </p:nvSpPr>
        <p:spPr>
          <a:xfrm rot="10800000">
            <a:off x="8727428" y="1267817"/>
            <a:ext cx="465624" cy="401400"/>
          </a:xfrm>
          <a:prstGeom prst="triangle">
            <a:avLst/>
          </a:prstGeom>
          <a:solidFill>
            <a:srgbClr val="8A8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15" name="CuadroTexto 14">
            <a:extLst>
              <a:ext uri="{FF2B5EF4-FFF2-40B4-BE49-F238E27FC236}">
                <a16:creationId xmlns:a16="http://schemas.microsoft.com/office/drawing/2014/main" id="{E1339E3C-BA00-8A1A-87BD-6AAD4EF1995B}"/>
              </a:ext>
            </a:extLst>
          </p:cNvPr>
          <p:cNvSpPr txBox="1"/>
          <p:nvPr/>
        </p:nvSpPr>
        <p:spPr>
          <a:xfrm>
            <a:off x="8635687" y="1663563"/>
            <a:ext cx="3318494"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00" cap="none" spc="0" normalizeH="0" baseline="0" noProof="0" dirty="0">
                <a:ln>
                  <a:noFill/>
                </a:ln>
                <a:solidFill>
                  <a:srgbClr val="FFFFFF">
                    <a:lumMod val="50000"/>
                  </a:srgbClr>
                </a:solidFill>
                <a:effectLst/>
                <a:uLnTx/>
                <a:uFillTx/>
                <a:latin typeface="Poppins"/>
                <a:ea typeface="Calibri"/>
                <a:cs typeface="Poppins Medium"/>
              </a:rPr>
              <a:t>Includ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Market diagnosis, opportunities and implications for </a:t>
            </a:r>
            <a:r>
              <a:rPr kumimoji="0" lang="en-US" sz="1100" b="0" i="0" u="none" strike="noStrike" kern="100" cap="none" spc="0" normalizeH="0" baseline="0" noProof="0" dirty="0" err="1">
                <a:ln>
                  <a:noFill/>
                </a:ln>
                <a:solidFill>
                  <a:srgbClr val="FFFFFF">
                    <a:lumMod val="50000"/>
                  </a:srgbClr>
                </a:solidFill>
                <a:effectLst/>
                <a:uLnTx/>
                <a:uFillTx/>
                <a:latin typeface="Poppins"/>
                <a:ea typeface="Calibri"/>
                <a:cs typeface="Poppins Medium"/>
              </a:rPr>
              <a:t>Odevo</a:t>
            </a: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 based on intervie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Detailed results of the interviews (recordings, transcription and summary)</a:t>
            </a:r>
            <a:endParaRPr kumimoji="0" lang="en-US" sz="1800" b="0" i="0" u="none" strike="noStrike" kern="1200" cap="none" spc="0" normalizeH="0" baseline="0" noProof="0" dirty="0">
              <a:ln>
                <a:noFill/>
              </a:ln>
              <a:solidFill>
                <a:srgbClr val="545354"/>
              </a:solidFill>
              <a:effectLst/>
              <a:uLnTx/>
              <a:uFillTx/>
              <a:latin typeface="Poppins Medium" pitchFamily="2" charset="77"/>
              <a:ea typeface="+mn-ea"/>
              <a:cs typeface="Poppins Medium" pitchFamily="2" charset="77"/>
            </a:endParaRPr>
          </a:p>
        </p:txBody>
      </p:sp>
      <p:pic>
        <p:nvPicPr>
          <p:cNvPr id="19" name="Imagen 18" descr="Imagen que contiene Círculo&#10;&#10;Descripción generada automáticamente">
            <a:extLst>
              <a:ext uri="{FF2B5EF4-FFF2-40B4-BE49-F238E27FC236}">
                <a16:creationId xmlns:a16="http://schemas.microsoft.com/office/drawing/2014/main" id="{C014B729-07A1-9FD9-8B39-8C2CF97F0499}"/>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50548" y="5869033"/>
            <a:ext cx="647714" cy="647714"/>
          </a:xfrm>
          <a:prstGeom prst="rect">
            <a:avLst/>
          </a:prstGeom>
        </p:spPr>
      </p:pic>
      <p:sp>
        <p:nvSpPr>
          <p:cNvPr id="3" name="object 7">
            <a:extLst>
              <a:ext uri="{FF2B5EF4-FFF2-40B4-BE49-F238E27FC236}">
                <a16:creationId xmlns:a16="http://schemas.microsoft.com/office/drawing/2014/main" id="{BB7E370D-A188-8347-21FB-752AE2A377CB}"/>
              </a:ext>
            </a:extLst>
          </p:cNvPr>
          <p:cNvSpPr txBox="1">
            <a:spLocks/>
          </p:cNvSpPr>
          <p:nvPr/>
        </p:nvSpPr>
        <p:spPr>
          <a:xfrm>
            <a:off x="334679" y="515341"/>
            <a:ext cx="2541871" cy="407798"/>
          </a:xfrm>
          <a:prstGeom prst="rect">
            <a:avLst/>
          </a:prstGeom>
        </p:spPr>
        <p:txBody>
          <a:bodyPr vert="horz" wrap="square" lIns="0" tIns="71622"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412E91"/>
                </a:solidFill>
                <a:effectLst/>
                <a:uLnTx/>
                <a:uFillTx/>
                <a:latin typeface="Poppins" pitchFamily="2" charset="77"/>
                <a:ea typeface="+mj-ea"/>
                <a:cs typeface="Poppins" pitchFamily="2" charset="77"/>
              </a:rPr>
              <a:t>METHODOLOGY</a:t>
            </a:r>
          </a:p>
        </p:txBody>
      </p:sp>
      <p:sp>
        <p:nvSpPr>
          <p:cNvPr id="6" name="object 5">
            <a:extLst>
              <a:ext uri="{FF2B5EF4-FFF2-40B4-BE49-F238E27FC236}">
                <a16:creationId xmlns:a16="http://schemas.microsoft.com/office/drawing/2014/main" id="{234144D8-0F97-D1DC-1B3A-2CB9118E6A75}"/>
              </a:ext>
            </a:extLst>
          </p:cNvPr>
          <p:cNvSpPr txBox="1"/>
          <p:nvPr/>
        </p:nvSpPr>
        <p:spPr>
          <a:xfrm>
            <a:off x="3734650" y="367608"/>
            <a:ext cx="4209027" cy="295466"/>
          </a:xfrm>
          <a:prstGeom prst="rect">
            <a:avLst/>
          </a:prstGeom>
        </p:spPr>
        <p:txBody>
          <a:bodyPr vert="horz" wrap="square" lIns="0" tIns="38100" rIns="0" bIns="0" rtlCol="0">
            <a:spAutoFit/>
          </a:bodyPr>
          <a:lstStyle/>
          <a:p>
            <a:pPr marL="12700" marR="5080" lvl="0" indent="0" algn="l" defTabSz="914400" rtl="0" eaLnBrk="1" fontAlgn="auto" latinLnBrk="0" hangingPunct="1">
              <a:lnSpc>
                <a:spcPts val="2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412E91"/>
                </a:solidFill>
                <a:effectLst/>
                <a:uLnTx/>
                <a:uFillTx/>
                <a:latin typeface="Poppins" pitchFamily="2" charset="77"/>
                <a:ea typeface="+mn-ea"/>
                <a:cs typeface="Poppins" pitchFamily="2" charset="77"/>
              </a:rPr>
              <a:t>Action details</a:t>
            </a:r>
            <a:endParaRPr kumimoji="0" lang="en-US" sz="1800" b="0" i="0" u="none" strike="noStrike" kern="1200" cap="none" spc="0" normalizeH="0" baseline="0" noProof="0" dirty="0">
              <a:ln>
                <a:noFill/>
              </a:ln>
              <a:solidFill>
                <a:srgbClr val="412E91"/>
              </a:solidFill>
              <a:effectLst/>
              <a:uLnTx/>
              <a:uFillTx/>
              <a:latin typeface="Poppins" pitchFamily="2" charset="77"/>
              <a:ea typeface="+mn-ea"/>
              <a:cs typeface="Poppins" pitchFamily="2" charset="77"/>
            </a:endParaRPr>
          </a:p>
        </p:txBody>
      </p:sp>
      <p:sp>
        <p:nvSpPr>
          <p:cNvPr id="11" name="TextBox 24">
            <a:extLst>
              <a:ext uri="{FF2B5EF4-FFF2-40B4-BE49-F238E27FC236}">
                <a16:creationId xmlns:a16="http://schemas.microsoft.com/office/drawing/2014/main" id="{69A57AA6-77F4-61D3-ED97-05B500BCE1B7}"/>
              </a:ext>
            </a:extLst>
          </p:cNvPr>
          <p:cNvSpPr txBox="1"/>
          <p:nvPr/>
        </p:nvSpPr>
        <p:spPr>
          <a:xfrm>
            <a:off x="169880" y="5478519"/>
            <a:ext cx="5585836" cy="338554"/>
          </a:xfrm>
          <a:prstGeom prst="rect">
            <a:avLst/>
          </a:prstGeom>
          <a:noFill/>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Objective of the phase: </a:t>
            </a:r>
            <a:r>
              <a:rPr kumimoji="0" lang="es-419" sz="16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Client </a:t>
            </a:r>
            <a:r>
              <a:rPr kumimoji="0" lang="en-US" sz="1600" b="0" i="0" u="none" strike="noStrike" kern="100" cap="none" spc="0" normalizeH="0" baseline="0" dirty="0">
                <a:ln>
                  <a:noFill/>
                </a:ln>
                <a:solidFill>
                  <a:srgbClr val="FFFFFF"/>
                </a:solidFill>
                <a:effectLst/>
                <a:uLnTx/>
                <a:uFillTx/>
                <a:latin typeface="Poppins"/>
                <a:ea typeface="Calibri" panose="020F0502020204030204" pitchFamily="34" charset="0"/>
                <a:cs typeface="Poppins Medium" pitchFamily="2" charset="77"/>
              </a:rPr>
              <a:t>understanding</a:t>
            </a:r>
          </a:p>
        </p:txBody>
      </p:sp>
      <p:pic>
        <p:nvPicPr>
          <p:cNvPr id="5" name="Imagen 4">
            <a:extLst>
              <a:ext uri="{FF2B5EF4-FFF2-40B4-BE49-F238E27FC236}">
                <a16:creationId xmlns:a16="http://schemas.microsoft.com/office/drawing/2014/main" id="{E4B6CC84-976C-5B4D-7180-B74D302727AF}"/>
              </a:ext>
            </a:extLst>
          </p:cNvPr>
          <p:cNvPicPr>
            <a:picLocks noChangeAspect="1"/>
          </p:cNvPicPr>
          <p:nvPr/>
        </p:nvPicPr>
        <p:blipFill>
          <a:blip r:embed="rId4"/>
          <a:stretch>
            <a:fillRect/>
          </a:stretch>
        </p:blipFill>
        <p:spPr>
          <a:xfrm>
            <a:off x="8693248" y="3116175"/>
            <a:ext cx="3296293" cy="1881337"/>
          </a:xfrm>
          <a:prstGeom prst="rect">
            <a:avLst/>
          </a:prstGeom>
        </p:spPr>
      </p:pic>
    </p:spTree>
    <p:extLst>
      <p:ext uri="{BB962C8B-B14F-4D97-AF65-F5344CB8AC3E}">
        <p14:creationId xmlns:p14="http://schemas.microsoft.com/office/powerpoint/2010/main" val="12338839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p:nvPr/>
        </p:nvSpPr>
        <p:spPr>
          <a:xfrm>
            <a:off x="-1440870" y="5115835"/>
            <a:ext cx="3415140" cy="3415140"/>
          </a:xfrm>
          <a:custGeom>
            <a:avLst/>
            <a:gdLst/>
            <a:ahLst/>
            <a:cxnLst/>
            <a:rect l="l" t="t" r="r" b="b"/>
            <a:pathLst>
              <a:path w="5122710" h="5122710">
                <a:moveTo>
                  <a:pt x="0" y="0"/>
                </a:moveTo>
                <a:lnTo>
                  <a:pt x="5122710" y="0"/>
                </a:lnTo>
                <a:lnTo>
                  <a:pt x="5122710" y="5122710"/>
                </a:lnTo>
                <a:lnTo>
                  <a:pt x="0" y="5122710"/>
                </a:lnTo>
                <a:lnTo>
                  <a:pt x="0" y="0"/>
                </a:lnTo>
                <a:close/>
              </a:path>
            </a:pathLst>
          </a:custGeom>
          <a:blipFill>
            <a:blip r:embed="rId7">
              <a:alphaModFix amt="30000"/>
              <a:extLst>
                <a:ext uri="{96DAC541-7B7A-43D3-8B79-37D633B846F1}">
                  <asvg:svgBlip xmlns:asvg="http://schemas.microsoft.com/office/drawing/2016/SVG/main" r:embed="rId8"/>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2050" name="Picture 2" descr="Global Property Management Group Odevo Continues U.S. Expansion With ...">
            <a:extLst>
              <a:ext uri="{FF2B5EF4-FFF2-40B4-BE49-F238E27FC236}">
                <a16:creationId xmlns:a16="http://schemas.microsoft.com/office/drawing/2014/main" id="{DBCE418B-51E1-DD9D-1C1D-19C248BBD1D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
            <a:extLst>
              <a:ext uri="{FF2B5EF4-FFF2-40B4-BE49-F238E27FC236}">
                <a16:creationId xmlns:a16="http://schemas.microsoft.com/office/drawing/2014/main" id="{F7851A6A-B8AD-F4F1-2396-67EDBFD7A6DB}"/>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Interview results for a furniture and home decor company</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8" name="Rectángulo 7">
            <a:extLst>
              <a:ext uri="{FF2B5EF4-FFF2-40B4-BE49-F238E27FC236}">
                <a16:creationId xmlns:a16="http://schemas.microsoft.com/office/drawing/2014/main" id="{3E4AC76F-5938-4B8F-B4C3-A8B99125BAEA}"/>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3" name="Título 31">
            <a:extLst>
              <a:ext uri="{FF2B5EF4-FFF2-40B4-BE49-F238E27FC236}">
                <a16:creationId xmlns:a16="http://schemas.microsoft.com/office/drawing/2014/main" id="{3F057E8E-4268-CA69-0A60-64DC96BA731D}"/>
              </a:ext>
            </a:extLst>
          </p:cNvPr>
          <p:cNvSpPr txBox="1">
            <a:spLocks/>
          </p:cNvSpPr>
          <p:nvPr/>
        </p:nvSpPr>
        <p:spPr>
          <a:xfrm>
            <a:off x="754674" y="299800"/>
            <a:ext cx="10550013" cy="798836"/>
          </a:xfrm>
          <a:prstGeom prst="rect">
            <a:avLst/>
          </a:prstGeom>
        </p:spPr>
        <p:txBody>
          <a:bodyP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sz="2000" dirty="0">
                <a:cs typeface="Poppins"/>
              </a:rPr>
              <a:t>The most valued drivers when choosing a website are ease of use and the variety of photographs.</a:t>
            </a:r>
          </a:p>
        </p:txBody>
      </p:sp>
      <p:graphicFrame>
        <p:nvGraphicFramePr>
          <p:cNvPr id="35" name="Table 526">
            <a:extLst>
              <a:ext uri="{FF2B5EF4-FFF2-40B4-BE49-F238E27FC236}">
                <a16:creationId xmlns:a16="http://schemas.microsoft.com/office/drawing/2014/main" id="{3690F72B-F960-7C91-383F-A94789F5B833}"/>
              </a:ext>
            </a:extLst>
          </p:cNvPr>
          <p:cNvGraphicFramePr>
            <a:graphicFrameLocks noGrp="1"/>
          </p:cNvGraphicFramePr>
          <p:nvPr>
            <p:extLst>
              <p:ext uri="{D42A27DB-BD31-4B8C-83A1-F6EECF244321}">
                <p14:modId xmlns:p14="http://schemas.microsoft.com/office/powerpoint/2010/main" val="258758203"/>
              </p:ext>
            </p:extLst>
          </p:nvPr>
        </p:nvGraphicFramePr>
        <p:xfrm>
          <a:off x="5130460" y="1546755"/>
          <a:ext cx="6143767" cy="2011680"/>
        </p:xfrm>
        <a:graphic>
          <a:graphicData uri="http://schemas.openxmlformats.org/drawingml/2006/table">
            <a:tbl>
              <a:tblPr firstRow="1" bandRow="1">
                <a:tableStyleId>{00A15C55-8517-42AA-B614-E9B94910E393}</a:tableStyleId>
              </a:tblPr>
              <a:tblGrid>
                <a:gridCol w="1103698">
                  <a:extLst>
                    <a:ext uri="{9D8B030D-6E8A-4147-A177-3AD203B41FA5}">
                      <a16:colId xmlns:a16="http://schemas.microsoft.com/office/drawing/2014/main" val="3339568082"/>
                    </a:ext>
                  </a:extLst>
                </a:gridCol>
                <a:gridCol w="1303304">
                  <a:extLst>
                    <a:ext uri="{9D8B030D-6E8A-4147-A177-3AD203B41FA5}">
                      <a16:colId xmlns:a16="http://schemas.microsoft.com/office/drawing/2014/main" val="3982179931"/>
                    </a:ext>
                  </a:extLst>
                </a:gridCol>
                <a:gridCol w="1303613">
                  <a:extLst>
                    <a:ext uri="{9D8B030D-6E8A-4147-A177-3AD203B41FA5}">
                      <a16:colId xmlns:a16="http://schemas.microsoft.com/office/drawing/2014/main" val="448008337"/>
                    </a:ext>
                  </a:extLst>
                </a:gridCol>
                <a:gridCol w="1314734">
                  <a:extLst>
                    <a:ext uri="{9D8B030D-6E8A-4147-A177-3AD203B41FA5}">
                      <a16:colId xmlns:a16="http://schemas.microsoft.com/office/drawing/2014/main" val="4098882462"/>
                    </a:ext>
                  </a:extLst>
                </a:gridCol>
                <a:gridCol w="1118418">
                  <a:extLst>
                    <a:ext uri="{9D8B030D-6E8A-4147-A177-3AD203B41FA5}">
                      <a16:colId xmlns:a16="http://schemas.microsoft.com/office/drawing/2014/main" val="1842391703"/>
                    </a:ext>
                  </a:extLst>
                </a:gridCol>
              </a:tblGrid>
              <a:tr h="233289">
                <a:tc gridSpan="5">
                  <a:txBody>
                    <a:bodyPr/>
                    <a:lstStyle/>
                    <a:p>
                      <a:pPr algn="ctr"/>
                      <a:r>
                        <a:rPr lang="en-US" sz="1000" dirty="0">
                          <a:latin typeface="+mj-lt"/>
                        </a:rPr>
                        <a:t>Competitors with the most mentions regarding website problems</a:t>
                      </a:r>
                      <a:endParaRPr lang="es-CO" sz="1000" dirty="0">
                        <a:latin typeface="+mj-lt"/>
                      </a:endParaRPr>
                    </a:p>
                  </a:txBody>
                  <a:tcPr anchor="ctr"/>
                </a:tc>
                <a:tc hMerge="1">
                  <a:txBody>
                    <a:bodyPr/>
                    <a:lstStyle/>
                    <a:p>
                      <a:pPr algn="ctr"/>
                      <a:endParaRPr lang="en-US" sz="1000">
                        <a:latin typeface="+mj-lt"/>
                      </a:endParaRPr>
                    </a:p>
                  </a:txBody>
                  <a:tcPr anchor="ctr"/>
                </a:tc>
                <a:tc hMerge="1">
                  <a:txBody>
                    <a:bodyPr/>
                    <a:lstStyle/>
                    <a:p>
                      <a:pPr algn="ctr"/>
                      <a:endParaRPr lang="en-US" sz="1000">
                        <a:latin typeface="+mj-lt"/>
                      </a:endParaRPr>
                    </a:p>
                  </a:txBody>
                  <a:tcPr anchor="ctr"/>
                </a:tc>
                <a:tc hMerge="1">
                  <a:txBody>
                    <a:bodyPr/>
                    <a:lstStyle/>
                    <a:p>
                      <a:pPr algn="ctr"/>
                      <a:endParaRPr lang="en-US" sz="1000">
                        <a:latin typeface="+mj-lt"/>
                      </a:endParaRPr>
                    </a:p>
                  </a:txBody>
                  <a:tcPr anchor="ctr"/>
                </a:tc>
                <a:tc hMerge="1">
                  <a:txBody>
                    <a:bodyPr/>
                    <a:lstStyle/>
                    <a:p>
                      <a:pPr algn="ctr"/>
                      <a:endParaRPr lang="en-US" sz="1000">
                        <a:latin typeface="+mj-lt"/>
                      </a:endParaRPr>
                    </a:p>
                  </a:txBody>
                  <a:tcPr anchor="ctr"/>
                </a:tc>
                <a:extLst>
                  <a:ext uri="{0D108BD9-81ED-4DB2-BD59-A6C34878D82A}">
                    <a16:rowId xmlns:a16="http://schemas.microsoft.com/office/drawing/2014/main" val="710208241"/>
                  </a:ext>
                </a:extLst>
              </a:tr>
              <a:tr h="457200">
                <a:tc>
                  <a:txBody>
                    <a:bodyPr/>
                    <a:lstStyle/>
                    <a:p>
                      <a:pPr algn="ctr"/>
                      <a:r>
                        <a:rPr lang="es-CO" sz="1000" b="1" dirty="0">
                          <a:solidFill>
                            <a:srgbClr val="545353"/>
                          </a:solidFill>
                          <a:latin typeface="+mj-lt"/>
                        </a:rPr>
                        <a:t>Brand</a:t>
                      </a:r>
                    </a:p>
                  </a:txBody>
                  <a:tcPr anchor="ctr"/>
                </a:tc>
                <a:tc>
                  <a:txBody>
                    <a:bodyPr/>
                    <a:lstStyle/>
                    <a:p>
                      <a:pPr algn="ctr"/>
                      <a:endParaRPr lang="es-CO" sz="1000">
                        <a:latin typeface="+mj-lt"/>
                      </a:endParaRPr>
                    </a:p>
                  </a:txBody>
                  <a:tcPr anchor="ctr"/>
                </a:tc>
                <a:tc>
                  <a:txBody>
                    <a:bodyPr/>
                    <a:lstStyle/>
                    <a:p>
                      <a:pPr algn="ctr"/>
                      <a:endParaRPr lang="es-CO" sz="1000">
                        <a:latin typeface="+mj-lt"/>
                      </a:endParaRPr>
                    </a:p>
                  </a:txBody>
                  <a:tcPr anchor="ctr"/>
                </a:tc>
                <a:tc>
                  <a:txBody>
                    <a:bodyPr/>
                    <a:lstStyle/>
                    <a:p>
                      <a:pPr algn="ctr"/>
                      <a:endParaRPr lang="es-CO" sz="1000">
                        <a:latin typeface="+mj-lt"/>
                      </a:endParaRPr>
                    </a:p>
                  </a:txBody>
                  <a:tcPr anchor="ctr"/>
                </a:tc>
                <a:tc>
                  <a:txBody>
                    <a:bodyPr/>
                    <a:lstStyle/>
                    <a:p>
                      <a:pPr algn="ctr"/>
                      <a:endParaRPr lang="es-CO" sz="1000">
                        <a:latin typeface="+mj-lt"/>
                      </a:endParaRPr>
                    </a:p>
                  </a:txBody>
                  <a:tcPr anchor="ctr"/>
                </a:tc>
                <a:extLst>
                  <a:ext uri="{0D108BD9-81ED-4DB2-BD59-A6C34878D82A}">
                    <a16:rowId xmlns:a16="http://schemas.microsoft.com/office/drawing/2014/main" val="2704246151"/>
                  </a:ext>
                </a:extLst>
              </a:tr>
              <a:tr h="904519">
                <a:tc>
                  <a:txBody>
                    <a:bodyPr/>
                    <a:lstStyle/>
                    <a:p>
                      <a:pPr algn="ctr"/>
                      <a:r>
                        <a:rPr lang="es-CO" sz="1000" b="1" dirty="0">
                          <a:solidFill>
                            <a:srgbClr val="545353"/>
                          </a:solidFill>
                          <a:latin typeface="+mj-lt"/>
                        </a:rPr>
                        <a:t>Issues </a:t>
                      </a:r>
                      <a:r>
                        <a:rPr lang="es-CO" sz="1000" b="1" dirty="0" err="1">
                          <a:solidFill>
                            <a:srgbClr val="545353"/>
                          </a:solidFill>
                          <a:latin typeface="+mj-lt"/>
                        </a:rPr>
                        <a:t>mentioned</a:t>
                      </a:r>
                      <a:endParaRPr lang="es-CO" sz="1000" b="1" dirty="0">
                        <a:solidFill>
                          <a:srgbClr val="545353"/>
                        </a:solidFill>
                        <a:latin typeface="+mj-lt"/>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Non-responsive page (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Loading time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Discount coupon not working (1)</a:t>
                      </a:r>
                      <a:endParaRPr lang="es-CO" sz="1000" kern="1200" dirty="0">
                        <a:solidFill>
                          <a:srgbClr val="545353"/>
                        </a:solidFill>
                        <a:latin typeface="+mj-lt"/>
                        <a:ea typeface="+mn-ea"/>
                        <a:cs typeface="+mn-cs"/>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Loading time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Difficulty using filters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Non-responsive page (1)</a:t>
                      </a:r>
                      <a:endParaRPr lang="es-CO" sz="1000" kern="1200" dirty="0">
                        <a:solidFill>
                          <a:srgbClr val="545353"/>
                        </a:solidFill>
                        <a:latin typeface="+mj-lt"/>
                        <a:ea typeface="+mn-ea"/>
                        <a:cs typeface="+mn-cs"/>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Loading time (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Order tracking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545353"/>
                          </a:solidFill>
                          <a:latin typeface="+mj-lt"/>
                          <a:ea typeface="+mn-ea"/>
                          <a:cs typeface="+mn-cs"/>
                        </a:rPr>
                        <a:t>Difficulty using filters (1)</a:t>
                      </a:r>
                      <a:endParaRPr lang="es-CO" sz="1000" kern="1200" dirty="0">
                        <a:solidFill>
                          <a:srgbClr val="545353"/>
                        </a:solidFill>
                        <a:latin typeface="+mj-lt"/>
                        <a:ea typeface="+mn-ea"/>
                        <a:cs typeface="+mn-cs"/>
                      </a:endParaRPr>
                    </a:p>
                  </a:txBody>
                  <a:tcPr anchor="ctr"/>
                </a:tc>
                <a:tc>
                  <a:txBody>
                    <a:bodyPr/>
                    <a:lstStyle/>
                    <a:p>
                      <a:pPr marL="171450" indent="-171450">
                        <a:buFont typeface="Arial" panose="020B0604020202020204" pitchFamily="34" charset="0"/>
                        <a:buChar char="•"/>
                      </a:pPr>
                      <a:r>
                        <a:rPr lang="es-CO" sz="1000" dirty="0">
                          <a:solidFill>
                            <a:srgbClr val="545353"/>
                          </a:solidFill>
                          <a:latin typeface="+mj-lt"/>
                        </a:rPr>
                        <a:t>Incomplete product information (1)</a:t>
                      </a:r>
                    </a:p>
                  </a:txBody>
                  <a:tcPr anchor="ctr"/>
                </a:tc>
                <a:extLst>
                  <a:ext uri="{0D108BD9-81ED-4DB2-BD59-A6C34878D82A}">
                    <a16:rowId xmlns:a16="http://schemas.microsoft.com/office/drawing/2014/main" val="1291338492"/>
                  </a:ext>
                </a:extLst>
              </a:tr>
            </a:tbl>
          </a:graphicData>
        </a:graphic>
      </p:graphicFrame>
      <p:pic>
        <p:nvPicPr>
          <p:cNvPr id="36" name="Picture 6" descr="sodimac-homecenter-logo-0 - SEAQ :: Tome el control de la información en su  empresa. Sus aliados en tecnologías Open Source">
            <a:extLst>
              <a:ext uri="{FF2B5EF4-FFF2-40B4-BE49-F238E27FC236}">
                <a16:creationId xmlns:a16="http://schemas.microsoft.com/office/drawing/2014/main" id="{5441BAC7-3C8B-418E-484F-4BD1A79CBAD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67788" y="1587237"/>
            <a:ext cx="876007" cy="917426"/>
          </a:xfrm>
          <a:prstGeom prst="rect">
            <a:avLst/>
          </a:prstGeom>
          <a:extLst>
            <a:ext uri="{909E8E84-426E-40DD-AFC4-6F175D3DCCD1}">
              <a14:hiddenFill xmlns:a14="http://schemas.microsoft.com/office/drawing/2010/main">
                <a:solidFill>
                  <a:srgbClr val="FFFFFF"/>
                </a:solidFill>
              </a14:hiddenFill>
            </a:ext>
          </a:extLst>
        </p:spPr>
      </p:pic>
      <p:pic>
        <p:nvPicPr>
          <p:cNvPr id="37" name="Imagen 38">
            <a:extLst>
              <a:ext uri="{FF2B5EF4-FFF2-40B4-BE49-F238E27FC236}">
                <a16:creationId xmlns:a16="http://schemas.microsoft.com/office/drawing/2014/main" id="{31178A20-9410-5199-0E35-542A2B6D91C0}"/>
              </a:ext>
            </a:extLst>
          </p:cNvPr>
          <p:cNvPicPr>
            <a:picLocks noChangeAspect="1"/>
          </p:cNvPicPr>
          <p:nvPr/>
        </p:nvPicPr>
        <p:blipFill>
          <a:blip r:embed="rId11"/>
          <a:stretch>
            <a:fillRect/>
          </a:stretch>
        </p:blipFill>
        <p:spPr>
          <a:xfrm>
            <a:off x="6572195" y="1844101"/>
            <a:ext cx="563901" cy="345679"/>
          </a:xfrm>
          <a:prstGeom prst="rect">
            <a:avLst/>
          </a:prstGeom>
        </p:spPr>
      </p:pic>
      <p:pic>
        <p:nvPicPr>
          <p:cNvPr id="38" name="Picture 8">
            <a:extLst>
              <a:ext uri="{FF2B5EF4-FFF2-40B4-BE49-F238E27FC236}">
                <a16:creationId xmlns:a16="http://schemas.microsoft.com/office/drawing/2014/main" id="{9C91209A-70FD-DCDB-61DA-8B12B1A4D93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77138" y="1882801"/>
            <a:ext cx="779404" cy="30445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7" descr="A logo of a company&#10;&#10;Description automatically generated">
            <a:extLst>
              <a:ext uri="{FF2B5EF4-FFF2-40B4-BE49-F238E27FC236}">
                <a16:creationId xmlns:a16="http://schemas.microsoft.com/office/drawing/2014/main" id="{A44005B3-7376-E484-B714-12C391497206}"/>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9921" b="89683" l="5945" r="95754">
                        <a14:foregroundMark x1="12314" y1="51190" x2="7643" y2="59921"/>
                        <a14:foregroundMark x1="10828" y1="46429" x2="6157" y2="55952"/>
                        <a14:foregroundMark x1="30573" y1="42857" x2="33333" y2="59921"/>
                        <a14:foregroundMark x1="30149" y1="51587" x2="19533" y2="69444"/>
                        <a14:foregroundMark x1="22505" y1="50397" x2="17834" y2="65476"/>
                        <a14:foregroundMark x1="17622" y1="45635" x2="17410" y2="46825"/>
                        <a14:foregroundMark x1="15074" y1="65476" x2="15074" y2="65476"/>
                        <a14:foregroundMark x1="45860" y1="43254" x2="45860" y2="43254"/>
                        <a14:foregroundMark x1="55626" y1="41270" x2="55626" y2="41270"/>
                        <a14:foregroundMark x1="62208" y1="44841" x2="62208" y2="44841"/>
                        <a14:foregroundMark x1="69002" y1="41667" x2="69002" y2="41667"/>
                        <a14:foregroundMark x1="77070" y1="40873" x2="77070" y2="40873"/>
                        <a14:foregroundMark x1="85138" y1="41667" x2="85138" y2="41667"/>
                        <a14:foregroundMark x1="93418" y1="42460" x2="93418" y2="42460"/>
                        <a14:foregroundMark x1="95754" y1="49603" x2="95754" y2="49603"/>
                        <a14:foregroundMark x1="80467" y1="66667" x2="80467" y2="66667"/>
                        <a14:foregroundMark x1="72611" y1="61905" x2="72611" y2="61905"/>
                        <a14:foregroundMark x1="66667" y1="67460" x2="66667" y2="67460"/>
                        <a14:foregroundMark x1="57962" y1="67063" x2="57962" y2="67063"/>
                        <a14:foregroundMark x1="53079" y1="67460" x2="53079" y2="67460"/>
                        <a14:foregroundMark x1="57749" y1="57540" x2="57749" y2="57540"/>
                        <a14:foregroundMark x1="55839" y1="40079" x2="55839" y2="40079"/>
                        <a14:backgroundMark x1="93418" y1="42857" x2="93418" y2="42857"/>
                        <a14:backgroundMark x1="55839" y1="41667" x2="55839" y2="41667"/>
                        <a14:backgroundMark x1="55839" y1="44048" x2="55839" y2="44048"/>
                        <a14:backgroundMark x1="77282" y1="49603" x2="77282" y2="49603"/>
                        <a14:backgroundMark x1="77070" y1="65079" x2="77070" y2="65079"/>
                      </a14:backgroundRemoval>
                    </a14:imgEffect>
                  </a14:imgLayer>
                </a14:imgProps>
              </a:ext>
              <a:ext uri="{28A0092B-C50C-407E-A947-70E740481C1C}">
                <a14:useLocalDpi xmlns:a14="http://schemas.microsoft.com/office/drawing/2010/main" val="0"/>
              </a:ext>
            </a:extLst>
          </a:blip>
          <a:stretch>
            <a:fillRect/>
          </a:stretch>
        </p:blipFill>
        <p:spPr>
          <a:xfrm>
            <a:off x="10280820" y="1826947"/>
            <a:ext cx="747690" cy="400038"/>
          </a:xfrm>
          <a:prstGeom prst="rect">
            <a:avLst/>
          </a:prstGeom>
        </p:spPr>
      </p:pic>
      <p:sp>
        <p:nvSpPr>
          <p:cNvPr id="40" name="TextBox 18">
            <a:extLst>
              <a:ext uri="{FF2B5EF4-FFF2-40B4-BE49-F238E27FC236}">
                <a16:creationId xmlns:a16="http://schemas.microsoft.com/office/drawing/2014/main" id="{C57BFCAF-92E0-3E4F-5CEE-70A9DBF6C04A}"/>
              </a:ext>
            </a:extLst>
          </p:cNvPr>
          <p:cNvSpPr txBox="1"/>
          <p:nvPr/>
        </p:nvSpPr>
        <p:spPr>
          <a:xfrm>
            <a:off x="1283246" y="1037136"/>
            <a:ext cx="1705401" cy="1009903"/>
          </a:xfrm>
          <a:prstGeom prst="rect">
            <a:avLst/>
          </a:prstGeom>
          <a:noFill/>
        </p:spPr>
        <p:txBody>
          <a:bodyPr wrap="square" rtlCol="0" anchor="ctr">
            <a:spAutoFit/>
          </a:bodyPr>
          <a:lstStyle/>
          <a:p>
            <a:pPr marL="0" marR="0" lvl="0" indent="0" algn="ctr" defTabSz="914400" rtl="0" eaLnBrk="1" fontAlgn="auto" latinLnBrk="0" hangingPunct="1">
              <a:lnSpc>
                <a:spcPts val="7200"/>
              </a:lnSpc>
              <a:spcBef>
                <a:spcPts val="0"/>
              </a:spcBef>
              <a:spcAft>
                <a:spcPts val="0"/>
              </a:spcAft>
              <a:buClrTx/>
              <a:buSzTx/>
              <a:buFontTx/>
              <a:buNone/>
              <a:tabLst/>
              <a:defRPr/>
            </a:pPr>
            <a:r>
              <a:rPr kumimoji="0" lang="es-CO" sz="6000" b="1" i="0" u="none" strike="noStrike" kern="1200" cap="none" spc="-145" normalizeH="0" baseline="0" noProof="0">
                <a:ln>
                  <a:noFill/>
                </a:ln>
                <a:solidFill>
                  <a:srgbClr val="6200EE"/>
                </a:solidFill>
                <a:effectLst/>
                <a:uLnTx/>
                <a:uFillTx/>
                <a:latin typeface="Poppins"/>
                <a:ea typeface="Source Sans Pro" panose="020B0503030403020204" pitchFamily="34" charset="0"/>
                <a:cs typeface="+mn-cs"/>
              </a:rPr>
              <a:t>16 </a:t>
            </a:r>
          </a:p>
        </p:txBody>
      </p:sp>
      <p:sp>
        <p:nvSpPr>
          <p:cNvPr id="41" name="TextBox 22">
            <a:extLst>
              <a:ext uri="{FF2B5EF4-FFF2-40B4-BE49-F238E27FC236}">
                <a16:creationId xmlns:a16="http://schemas.microsoft.com/office/drawing/2014/main" id="{5A86F2E6-57D4-2303-F9A8-043EAD5B922F}"/>
              </a:ext>
            </a:extLst>
          </p:cNvPr>
          <p:cNvSpPr txBox="1"/>
          <p:nvPr/>
        </p:nvSpPr>
        <p:spPr>
          <a:xfrm>
            <a:off x="2676989" y="1328492"/>
            <a:ext cx="1922094"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rPr>
              <a:t>People report having problems with websites.</a:t>
            </a:r>
            <a:endParaRPr kumimoji="0" lang="es-CO" sz="1000" b="0"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endParaRPr>
          </a:p>
        </p:txBody>
      </p:sp>
      <p:sp>
        <p:nvSpPr>
          <p:cNvPr id="42" name="TextBox 5">
            <a:extLst>
              <a:ext uri="{FF2B5EF4-FFF2-40B4-BE49-F238E27FC236}">
                <a16:creationId xmlns:a16="http://schemas.microsoft.com/office/drawing/2014/main" id="{3DE63C5B-1195-5E92-134A-016DC6F076F8}"/>
              </a:ext>
            </a:extLst>
          </p:cNvPr>
          <p:cNvSpPr txBox="1"/>
          <p:nvPr/>
        </p:nvSpPr>
        <p:spPr>
          <a:xfrm>
            <a:off x="1527018" y="1981853"/>
            <a:ext cx="3307872" cy="246221"/>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45353"/>
                </a:solidFill>
                <a:effectLst/>
                <a:uLnTx/>
                <a:uFillTx/>
                <a:latin typeface="Poppins"/>
                <a:ea typeface="League Spartan" charset="0"/>
                <a:cs typeface="Poppins" pitchFamily="2" charset="77"/>
              </a:rPr>
              <a:t>Main issues with the websites</a:t>
            </a:r>
          </a:p>
        </p:txBody>
      </p:sp>
      <p:sp>
        <p:nvSpPr>
          <p:cNvPr id="43" name="TextBox 86">
            <a:extLst>
              <a:ext uri="{FF2B5EF4-FFF2-40B4-BE49-F238E27FC236}">
                <a16:creationId xmlns:a16="http://schemas.microsoft.com/office/drawing/2014/main" id="{478DB20A-C9F6-CBF9-ACE7-48ED2D23CB54}"/>
              </a:ext>
            </a:extLst>
          </p:cNvPr>
          <p:cNvSpPr txBox="1"/>
          <p:nvPr/>
        </p:nvSpPr>
        <p:spPr>
          <a:xfrm>
            <a:off x="839827" y="3244109"/>
            <a:ext cx="107636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rPr>
              <a:t>Loading time</a:t>
            </a:r>
          </a:p>
        </p:txBody>
      </p:sp>
      <p:sp>
        <p:nvSpPr>
          <p:cNvPr id="44" name="TextBox 87">
            <a:extLst>
              <a:ext uri="{FF2B5EF4-FFF2-40B4-BE49-F238E27FC236}">
                <a16:creationId xmlns:a16="http://schemas.microsoft.com/office/drawing/2014/main" id="{1049C68B-0A14-AF6F-9C99-5678BAB0AA29}"/>
              </a:ext>
            </a:extLst>
          </p:cNvPr>
          <p:cNvSpPr txBox="1"/>
          <p:nvPr/>
        </p:nvSpPr>
        <p:spPr>
          <a:xfrm>
            <a:off x="1802330" y="3167165"/>
            <a:ext cx="1125314"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rPr>
              <a:t>Non-responsive </a:t>
            </a:r>
          </a:p>
        </p:txBody>
      </p:sp>
      <p:sp>
        <p:nvSpPr>
          <p:cNvPr id="45" name="TextBox 88">
            <a:extLst>
              <a:ext uri="{FF2B5EF4-FFF2-40B4-BE49-F238E27FC236}">
                <a16:creationId xmlns:a16="http://schemas.microsoft.com/office/drawing/2014/main" id="{2508A0D4-F1D8-B815-720D-020ABCC4C6E2}"/>
              </a:ext>
            </a:extLst>
          </p:cNvPr>
          <p:cNvSpPr txBox="1"/>
          <p:nvPr/>
        </p:nvSpPr>
        <p:spPr>
          <a:xfrm>
            <a:off x="2819886" y="3167165"/>
            <a:ext cx="1325317"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rPr>
              <a:t>Product info incomplete</a:t>
            </a:r>
          </a:p>
        </p:txBody>
      </p:sp>
      <p:sp>
        <p:nvSpPr>
          <p:cNvPr id="46" name="TextBox 89">
            <a:extLst>
              <a:ext uri="{FF2B5EF4-FFF2-40B4-BE49-F238E27FC236}">
                <a16:creationId xmlns:a16="http://schemas.microsoft.com/office/drawing/2014/main" id="{A4866096-12AC-3658-517C-95E5A9F6D3C7}"/>
              </a:ext>
            </a:extLst>
          </p:cNvPr>
          <p:cNvSpPr txBox="1"/>
          <p:nvPr/>
        </p:nvSpPr>
        <p:spPr>
          <a:xfrm>
            <a:off x="850632" y="3002074"/>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7</a:t>
            </a:r>
          </a:p>
        </p:txBody>
      </p:sp>
      <p:sp>
        <p:nvSpPr>
          <p:cNvPr id="47" name="TextBox 90">
            <a:extLst>
              <a:ext uri="{FF2B5EF4-FFF2-40B4-BE49-F238E27FC236}">
                <a16:creationId xmlns:a16="http://schemas.microsoft.com/office/drawing/2014/main" id="{E3C5426C-7EBF-3C7B-1C73-D54E9ADAB764}"/>
              </a:ext>
            </a:extLst>
          </p:cNvPr>
          <p:cNvSpPr txBox="1"/>
          <p:nvPr/>
        </p:nvSpPr>
        <p:spPr>
          <a:xfrm>
            <a:off x="1801041" y="3002074"/>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4</a:t>
            </a:r>
          </a:p>
        </p:txBody>
      </p:sp>
      <p:sp>
        <p:nvSpPr>
          <p:cNvPr id="48" name="TextBox 91">
            <a:extLst>
              <a:ext uri="{FF2B5EF4-FFF2-40B4-BE49-F238E27FC236}">
                <a16:creationId xmlns:a16="http://schemas.microsoft.com/office/drawing/2014/main" id="{EA01C91F-7789-44AE-B474-52EFB20B8313}"/>
              </a:ext>
            </a:extLst>
          </p:cNvPr>
          <p:cNvSpPr txBox="1"/>
          <p:nvPr/>
        </p:nvSpPr>
        <p:spPr>
          <a:xfrm>
            <a:off x="2869632" y="3002074"/>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1</a:t>
            </a:r>
          </a:p>
        </p:txBody>
      </p:sp>
      <p:sp>
        <p:nvSpPr>
          <p:cNvPr id="49" name="Rectángulo: esquinas redondeadas 2">
            <a:extLst>
              <a:ext uri="{FF2B5EF4-FFF2-40B4-BE49-F238E27FC236}">
                <a16:creationId xmlns:a16="http://schemas.microsoft.com/office/drawing/2014/main" id="{065D5267-2DB8-E5FC-6367-B7AD172A6E80}"/>
              </a:ext>
            </a:extLst>
          </p:cNvPr>
          <p:cNvSpPr/>
          <p:nvPr/>
        </p:nvSpPr>
        <p:spPr>
          <a:xfrm>
            <a:off x="887313" y="1027373"/>
            <a:ext cx="11046448" cy="2830179"/>
          </a:xfrm>
          <a:prstGeom prst="roundRect">
            <a:avLst>
              <a:gd name="adj" fmla="val 8915"/>
            </a:avLst>
          </a:prstGeom>
          <a:noFill/>
          <a:ln w="28575">
            <a:solidFill>
              <a:srgbClr val="6200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a:ln>
                <a:noFill/>
              </a:ln>
              <a:solidFill>
                <a:srgbClr val="545353"/>
              </a:solidFill>
              <a:effectLst/>
              <a:uLnTx/>
              <a:uFillTx/>
              <a:latin typeface="Poppins"/>
              <a:ea typeface="+mn-ea"/>
              <a:cs typeface="+mn-cs"/>
            </a:endParaRPr>
          </a:p>
        </p:txBody>
      </p:sp>
      <p:pic>
        <p:nvPicPr>
          <p:cNvPr id="50" name="Imagen 49">
            <a:extLst>
              <a:ext uri="{FF2B5EF4-FFF2-40B4-BE49-F238E27FC236}">
                <a16:creationId xmlns:a16="http://schemas.microsoft.com/office/drawing/2014/main" id="{6DD07838-47FC-6C6A-CD43-EA84A3A26D82}"/>
              </a:ext>
            </a:extLst>
          </p:cNvPr>
          <p:cNvPicPr>
            <a:picLocks noChangeAspect="1"/>
          </p:cNvPicPr>
          <p:nvPr/>
        </p:nvPicPr>
        <p:blipFill>
          <a:blip r:embed="rId15">
            <a:duotone>
              <a:schemeClr val="accent1">
                <a:shade val="45000"/>
                <a:satMod val="135000"/>
              </a:schemeClr>
              <a:prstClr val="white"/>
            </a:duotone>
          </a:blip>
          <a:stretch>
            <a:fillRect/>
          </a:stretch>
        </p:blipFill>
        <p:spPr>
          <a:xfrm>
            <a:off x="1092927" y="2357377"/>
            <a:ext cx="568947" cy="568947"/>
          </a:xfrm>
          <a:prstGeom prst="rect">
            <a:avLst/>
          </a:prstGeom>
        </p:spPr>
      </p:pic>
      <p:pic>
        <p:nvPicPr>
          <p:cNvPr id="51" name="Imagen 50">
            <a:extLst>
              <a:ext uri="{FF2B5EF4-FFF2-40B4-BE49-F238E27FC236}">
                <a16:creationId xmlns:a16="http://schemas.microsoft.com/office/drawing/2014/main" id="{EF149E56-2BEA-5DED-419D-D705D0B5900D}"/>
              </a:ext>
            </a:extLst>
          </p:cNvPr>
          <p:cNvPicPr>
            <a:picLocks noChangeAspect="1"/>
          </p:cNvPicPr>
          <p:nvPr/>
        </p:nvPicPr>
        <p:blipFill>
          <a:blip r:embed="rId16">
            <a:duotone>
              <a:schemeClr val="accent1">
                <a:shade val="45000"/>
                <a:satMod val="135000"/>
              </a:schemeClr>
              <a:prstClr val="white"/>
            </a:duotone>
          </a:blip>
          <a:stretch>
            <a:fillRect/>
          </a:stretch>
        </p:blipFill>
        <p:spPr>
          <a:xfrm>
            <a:off x="2164519" y="2357836"/>
            <a:ext cx="572887" cy="572887"/>
          </a:xfrm>
          <a:prstGeom prst="rect">
            <a:avLst/>
          </a:prstGeom>
        </p:spPr>
      </p:pic>
      <p:pic>
        <p:nvPicPr>
          <p:cNvPr id="52" name="Imagen 51">
            <a:extLst>
              <a:ext uri="{FF2B5EF4-FFF2-40B4-BE49-F238E27FC236}">
                <a16:creationId xmlns:a16="http://schemas.microsoft.com/office/drawing/2014/main" id="{9571B5C1-E53C-E5AE-B09A-9A09EE9F471E}"/>
              </a:ext>
            </a:extLst>
          </p:cNvPr>
          <p:cNvPicPr>
            <a:picLocks noChangeAspect="1"/>
          </p:cNvPicPr>
          <p:nvPr/>
        </p:nvPicPr>
        <p:blipFill>
          <a:blip r:embed="rId17">
            <a:duotone>
              <a:prstClr val="black"/>
              <a:schemeClr val="accent2">
                <a:tint val="45000"/>
                <a:satMod val="400000"/>
              </a:schemeClr>
            </a:duotone>
          </a:blip>
          <a:stretch>
            <a:fillRect/>
          </a:stretch>
        </p:blipFill>
        <p:spPr>
          <a:xfrm flipH="1">
            <a:off x="4229904" y="2479334"/>
            <a:ext cx="491169" cy="491169"/>
          </a:xfrm>
          <a:prstGeom prst="rect">
            <a:avLst/>
          </a:prstGeom>
        </p:spPr>
      </p:pic>
      <p:pic>
        <p:nvPicPr>
          <p:cNvPr id="53" name="Imagen 52">
            <a:extLst>
              <a:ext uri="{FF2B5EF4-FFF2-40B4-BE49-F238E27FC236}">
                <a16:creationId xmlns:a16="http://schemas.microsoft.com/office/drawing/2014/main" id="{0AD911DC-56B6-E7F2-7428-1D234EF2D16F}"/>
              </a:ext>
            </a:extLst>
          </p:cNvPr>
          <p:cNvPicPr>
            <a:picLocks noChangeAspect="1"/>
          </p:cNvPicPr>
          <p:nvPr/>
        </p:nvPicPr>
        <p:blipFill>
          <a:blip r:embed="rId18">
            <a:duotone>
              <a:schemeClr val="accent1">
                <a:shade val="45000"/>
                <a:satMod val="135000"/>
              </a:schemeClr>
              <a:prstClr val="white"/>
            </a:duotone>
          </a:blip>
          <a:stretch>
            <a:fillRect/>
          </a:stretch>
        </p:blipFill>
        <p:spPr>
          <a:xfrm>
            <a:off x="3205522" y="2387511"/>
            <a:ext cx="540000" cy="540000"/>
          </a:xfrm>
          <a:prstGeom prst="rect">
            <a:avLst/>
          </a:prstGeom>
        </p:spPr>
      </p:pic>
      <p:sp>
        <p:nvSpPr>
          <p:cNvPr id="54" name="TextBox 91">
            <a:extLst>
              <a:ext uri="{FF2B5EF4-FFF2-40B4-BE49-F238E27FC236}">
                <a16:creationId xmlns:a16="http://schemas.microsoft.com/office/drawing/2014/main" id="{3F547FB5-849B-4694-F0B3-B21A1796E4CD}"/>
              </a:ext>
            </a:extLst>
          </p:cNvPr>
          <p:cNvSpPr txBox="1"/>
          <p:nvPr/>
        </p:nvSpPr>
        <p:spPr>
          <a:xfrm>
            <a:off x="3966436" y="3002074"/>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4</a:t>
            </a:r>
          </a:p>
        </p:txBody>
      </p:sp>
      <p:sp>
        <p:nvSpPr>
          <p:cNvPr id="55" name="TextBox 86">
            <a:extLst>
              <a:ext uri="{FF2B5EF4-FFF2-40B4-BE49-F238E27FC236}">
                <a16:creationId xmlns:a16="http://schemas.microsoft.com/office/drawing/2014/main" id="{6C2EDDBF-592E-63F0-6EE5-DCCE741AE5E4}"/>
              </a:ext>
            </a:extLst>
          </p:cNvPr>
          <p:cNvSpPr txBox="1"/>
          <p:nvPr/>
        </p:nvSpPr>
        <p:spPr>
          <a:xfrm>
            <a:off x="3955630" y="3167165"/>
            <a:ext cx="107636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rPr>
              <a:t>Other</a:t>
            </a:r>
          </a:p>
        </p:txBody>
      </p:sp>
      <p:sp>
        <p:nvSpPr>
          <p:cNvPr id="56" name="Rectángulo: esquinas redondeadas 55">
            <a:extLst>
              <a:ext uri="{FF2B5EF4-FFF2-40B4-BE49-F238E27FC236}">
                <a16:creationId xmlns:a16="http://schemas.microsoft.com/office/drawing/2014/main" id="{50564E91-0FB6-4B97-6B90-35DAFBB253A2}"/>
              </a:ext>
            </a:extLst>
          </p:cNvPr>
          <p:cNvSpPr/>
          <p:nvPr/>
        </p:nvSpPr>
        <p:spPr>
          <a:xfrm>
            <a:off x="4494202" y="892409"/>
            <a:ext cx="3223506" cy="252000"/>
          </a:xfrm>
          <a:prstGeom prst="roundRect">
            <a:avLst>
              <a:gd name="adj" fmla="val 39707"/>
            </a:avLst>
          </a:prstGeom>
          <a:solidFill>
            <a:srgbClr val="6200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a:ea typeface="+mn-ea"/>
                <a:cs typeface="+mn-cs"/>
              </a:rPr>
              <a:t>Problems wit</a:t>
            </a:r>
            <a:r>
              <a:rPr lang="en-US" sz="1200" b="1" dirty="0">
                <a:solidFill>
                  <a:prstClr val="white"/>
                </a:solidFill>
                <a:latin typeface="Poppins"/>
              </a:rPr>
              <a:t>h websites</a:t>
            </a:r>
            <a:endParaRPr kumimoji="0" lang="en-US" sz="1200" b="1" i="0" u="none" strike="noStrike" kern="1200" cap="none" spc="0" normalizeH="0" baseline="0" noProof="0" dirty="0">
              <a:ln>
                <a:noFill/>
              </a:ln>
              <a:solidFill>
                <a:prstClr val="white"/>
              </a:solidFill>
              <a:effectLst/>
              <a:uLnTx/>
              <a:uFillTx/>
              <a:latin typeface="Poppins"/>
              <a:ea typeface="+mn-ea"/>
              <a:cs typeface="+mn-cs"/>
            </a:endParaRPr>
          </a:p>
        </p:txBody>
      </p:sp>
      <p:sp>
        <p:nvSpPr>
          <p:cNvPr id="57" name="Cerrar llave 56">
            <a:extLst>
              <a:ext uri="{FF2B5EF4-FFF2-40B4-BE49-F238E27FC236}">
                <a16:creationId xmlns:a16="http://schemas.microsoft.com/office/drawing/2014/main" id="{11597A19-67A0-9E12-E77A-14295187505E}"/>
              </a:ext>
            </a:extLst>
          </p:cNvPr>
          <p:cNvSpPr/>
          <p:nvPr/>
        </p:nvSpPr>
        <p:spPr>
          <a:xfrm rot="10800000">
            <a:off x="4871168" y="1348077"/>
            <a:ext cx="277091" cy="220614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3"/>
              </a:solidFill>
              <a:effectLst/>
              <a:uLnTx/>
              <a:uFillTx/>
              <a:latin typeface="Poppins"/>
              <a:ea typeface="+mn-ea"/>
              <a:cs typeface="+mn-cs"/>
            </a:endParaRPr>
          </a:p>
        </p:txBody>
      </p:sp>
      <p:sp>
        <p:nvSpPr>
          <p:cNvPr id="58" name="Elipse 57">
            <a:extLst>
              <a:ext uri="{FF2B5EF4-FFF2-40B4-BE49-F238E27FC236}">
                <a16:creationId xmlns:a16="http://schemas.microsoft.com/office/drawing/2014/main" id="{5DBA399E-45B8-9A2F-F806-841291727212}"/>
              </a:ext>
            </a:extLst>
          </p:cNvPr>
          <p:cNvSpPr/>
          <p:nvPr/>
        </p:nvSpPr>
        <p:spPr>
          <a:xfrm>
            <a:off x="11406680" y="2754107"/>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3"/>
              </a:solidFill>
              <a:effectLst/>
              <a:uLnTx/>
              <a:uFillTx/>
              <a:latin typeface="Poppins"/>
              <a:ea typeface="+mn-ea"/>
              <a:cs typeface="+mn-cs"/>
            </a:endParaRPr>
          </a:p>
        </p:txBody>
      </p:sp>
      <p:sp>
        <p:nvSpPr>
          <p:cNvPr id="59" name="Elipse 58">
            <a:extLst>
              <a:ext uri="{FF2B5EF4-FFF2-40B4-BE49-F238E27FC236}">
                <a16:creationId xmlns:a16="http://schemas.microsoft.com/office/drawing/2014/main" id="{CD8748E1-B375-9BCC-0A35-2231E205C3FA}"/>
              </a:ext>
            </a:extLst>
          </p:cNvPr>
          <p:cNvSpPr/>
          <p:nvPr/>
        </p:nvSpPr>
        <p:spPr>
          <a:xfrm>
            <a:off x="11423994" y="2092239"/>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3"/>
              </a:solidFill>
              <a:effectLst/>
              <a:uLnTx/>
              <a:uFillTx/>
              <a:latin typeface="Poppins"/>
              <a:ea typeface="+mn-ea"/>
              <a:cs typeface="+mn-cs"/>
            </a:endParaRPr>
          </a:p>
        </p:txBody>
      </p:sp>
      <p:pic>
        <p:nvPicPr>
          <p:cNvPr id="60" name="Sonido grabado">
            <a:hlinkClick r:id="" action="ppaction://media"/>
            <a:extLst>
              <a:ext uri="{FF2B5EF4-FFF2-40B4-BE49-F238E27FC236}">
                <a16:creationId xmlns:a16="http://schemas.microsoft.com/office/drawing/2014/main" id="{0579168B-5B47-F3C6-2A5E-03D01E512FA9}"/>
              </a:ext>
            </a:extLst>
          </p:cNvPr>
          <p:cNvPicPr>
            <a:picLocks noChangeAspect="1"/>
          </p:cNvPicPr>
          <p:nvPr>
            <a:audioFile r:link="rId1"/>
            <p:extLst>
              <p:ext uri="{DAA4B4D4-6D71-4841-9C94-3DE7FCFB9230}">
                <p14:media xmlns:p14="http://schemas.microsoft.com/office/powerpoint/2010/main" r:embed="rId2">
                  <p14:trim end="1080.8185"/>
                </p14:media>
              </p:ext>
            </p:extLst>
          </p:nvPr>
        </p:nvPicPr>
        <p:blipFill>
          <a:blip r:embed="rId19"/>
          <a:stretch>
            <a:fillRect/>
          </a:stretch>
        </p:blipFill>
        <p:spPr>
          <a:xfrm>
            <a:off x="11478680" y="2127737"/>
            <a:ext cx="288000" cy="288000"/>
          </a:xfrm>
          <a:prstGeom prst="rect">
            <a:avLst/>
          </a:prstGeom>
        </p:spPr>
      </p:pic>
      <p:pic>
        <p:nvPicPr>
          <p:cNvPr id="61" name="Sonido grabado">
            <a:hlinkClick r:id="" action="ppaction://media"/>
            <a:extLst>
              <a:ext uri="{FF2B5EF4-FFF2-40B4-BE49-F238E27FC236}">
                <a16:creationId xmlns:a16="http://schemas.microsoft.com/office/drawing/2014/main" id="{42B9098A-80A3-52DB-2257-31529E3B60B7}"/>
              </a:ext>
            </a:extLst>
          </p:cNvPr>
          <p:cNvPicPr>
            <a:picLocks noChangeAspect="1"/>
          </p:cNvPicPr>
          <p:nvPr>
            <a:audioFile r:link="rId1"/>
            <p:extLst>
              <p:ext uri="{DAA4B4D4-6D71-4841-9C94-3DE7FCFB9230}">
                <p14:media xmlns:p14="http://schemas.microsoft.com/office/powerpoint/2010/main" r:embed="rId3">
                  <p14:trim end="2168.6666"/>
                </p14:media>
              </p:ext>
            </p:extLst>
          </p:nvPr>
        </p:nvPicPr>
        <p:blipFill>
          <a:blip r:embed="rId19"/>
          <a:stretch>
            <a:fillRect/>
          </a:stretch>
        </p:blipFill>
        <p:spPr>
          <a:xfrm>
            <a:off x="11461903" y="2809080"/>
            <a:ext cx="288000" cy="288000"/>
          </a:xfrm>
          <a:prstGeom prst="rect">
            <a:avLst/>
          </a:prstGeom>
        </p:spPr>
      </p:pic>
      <p:sp>
        <p:nvSpPr>
          <p:cNvPr id="62" name="Rectángulo: esquinas redondeadas 2">
            <a:extLst>
              <a:ext uri="{FF2B5EF4-FFF2-40B4-BE49-F238E27FC236}">
                <a16:creationId xmlns:a16="http://schemas.microsoft.com/office/drawing/2014/main" id="{50531CB9-CB93-823E-B480-E5C8D279ED81}"/>
              </a:ext>
            </a:extLst>
          </p:cNvPr>
          <p:cNvSpPr/>
          <p:nvPr/>
        </p:nvSpPr>
        <p:spPr>
          <a:xfrm>
            <a:off x="850632" y="4014756"/>
            <a:ext cx="11046448" cy="1678284"/>
          </a:xfrm>
          <a:prstGeom prst="roundRect">
            <a:avLst>
              <a:gd name="adj" fmla="val 8915"/>
            </a:avLst>
          </a:prstGeom>
          <a:noFill/>
          <a:ln w="28575">
            <a:solidFill>
              <a:srgbClr val="6200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a:ln>
                <a:noFill/>
              </a:ln>
              <a:solidFill>
                <a:srgbClr val="545353"/>
              </a:solidFill>
              <a:effectLst/>
              <a:uLnTx/>
              <a:uFillTx/>
              <a:latin typeface="Poppins"/>
              <a:ea typeface="+mn-ea"/>
              <a:cs typeface="+mn-cs"/>
            </a:endParaRPr>
          </a:p>
        </p:txBody>
      </p:sp>
      <p:sp>
        <p:nvSpPr>
          <p:cNvPr id="63" name="Rectángulo: esquinas redondeadas 62">
            <a:extLst>
              <a:ext uri="{FF2B5EF4-FFF2-40B4-BE49-F238E27FC236}">
                <a16:creationId xmlns:a16="http://schemas.microsoft.com/office/drawing/2014/main" id="{A705D512-038A-539B-08A1-3E80FF2CE05C}"/>
              </a:ext>
            </a:extLst>
          </p:cNvPr>
          <p:cNvSpPr/>
          <p:nvPr/>
        </p:nvSpPr>
        <p:spPr>
          <a:xfrm>
            <a:off x="4199059" y="3915001"/>
            <a:ext cx="3740429" cy="252000"/>
          </a:xfrm>
          <a:prstGeom prst="roundRect">
            <a:avLst>
              <a:gd name="adj" fmla="val 39707"/>
            </a:avLst>
          </a:prstGeom>
          <a:solidFill>
            <a:srgbClr val="6200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a:ea typeface="+mn-ea"/>
                <a:cs typeface="+mn-cs"/>
              </a:rPr>
              <a:t>Drivers for choosing a website</a:t>
            </a:r>
            <a:endParaRPr kumimoji="0" lang="es-CO" sz="1200" b="1" i="0" u="none" strike="noStrike" kern="1200" cap="none" spc="0" normalizeH="0" baseline="0" noProof="0" dirty="0">
              <a:ln>
                <a:noFill/>
              </a:ln>
              <a:solidFill>
                <a:prstClr val="white"/>
              </a:solidFill>
              <a:effectLst/>
              <a:uLnTx/>
              <a:uFillTx/>
              <a:latin typeface="Poppins"/>
              <a:ea typeface="+mn-ea"/>
              <a:cs typeface="+mn-cs"/>
            </a:endParaRPr>
          </a:p>
        </p:txBody>
      </p:sp>
      <p:sp>
        <p:nvSpPr>
          <p:cNvPr id="2048" name="TextBox 86">
            <a:extLst>
              <a:ext uri="{FF2B5EF4-FFF2-40B4-BE49-F238E27FC236}">
                <a16:creationId xmlns:a16="http://schemas.microsoft.com/office/drawing/2014/main" id="{789FF08E-C1A2-A682-D7D3-063F8167B820}"/>
              </a:ext>
            </a:extLst>
          </p:cNvPr>
          <p:cNvSpPr txBox="1"/>
          <p:nvPr/>
        </p:nvSpPr>
        <p:spPr>
          <a:xfrm>
            <a:off x="900008" y="5276527"/>
            <a:ext cx="107636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a:ln>
                  <a:noFill/>
                </a:ln>
                <a:solidFill>
                  <a:srgbClr val="545353"/>
                </a:solidFill>
                <a:effectLst/>
                <a:uLnTx/>
                <a:uFillTx/>
                <a:latin typeface="Poppins"/>
                <a:ea typeface="Source Sans Pro" panose="020B0503030403020204" pitchFamily="34" charset="0"/>
                <a:cs typeface="+mn-cs"/>
              </a:rPr>
              <a:t>Ease of use</a:t>
            </a:r>
          </a:p>
        </p:txBody>
      </p:sp>
      <p:sp>
        <p:nvSpPr>
          <p:cNvPr id="2049" name="TextBox 86">
            <a:extLst>
              <a:ext uri="{FF2B5EF4-FFF2-40B4-BE49-F238E27FC236}">
                <a16:creationId xmlns:a16="http://schemas.microsoft.com/office/drawing/2014/main" id="{7924562C-11B7-B779-8FE8-DB26C607A09D}"/>
              </a:ext>
            </a:extLst>
          </p:cNvPr>
          <p:cNvSpPr txBox="1"/>
          <p:nvPr/>
        </p:nvSpPr>
        <p:spPr>
          <a:xfrm>
            <a:off x="4837204" y="5199583"/>
            <a:ext cx="1076360"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dirty="0">
                <a:ln>
                  <a:noFill/>
                </a:ln>
                <a:solidFill>
                  <a:srgbClr val="545353"/>
                </a:solidFill>
                <a:effectLst/>
                <a:uLnTx/>
                <a:uFillTx/>
                <a:latin typeface="Poppins"/>
                <a:ea typeface="Source Sans Pro" panose="020B0503030403020204" pitchFamily="34" charset="0"/>
                <a:cs typeface="+mn-cs"/>
              </a:rPr>
              <a:t>Visually appealing</a:t>
            </a:r>
          </a:p>
        </p:txBody>
      </p:sp>
      <p:sp>
        <p:nvSpPr>
          <p:cNvPr id="2051" name="TextBox 89">
            <a:extLst>
              <a:ext uri="{FF2B5EF4-FFF2-40B4-BE49-F238E27FC236}">
                <a16:creationId xmlns:a16="http://schemas.microsoft.com/office/drawing/2014/main" id="{7E84F4CC-55D8-0F2E-7E39-804C8086A676}"/>
              </a:ext>
            </a:extLst>
          </p:cNvPr>
          <p:cNvSpPr txBox="1"/>
          <p:nvPr/>
        </p:nvSpPr>
        <p:spPr>
          <a:xfrm>
            <a:off x="3506260"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9</a:t>
            </a:r>
          </a:p>
        </p:txBody>
      </p:sp>
      <p:sp>
        <p:nvSpPr>
          <p:cNvPr id="2052" name="TextBox 86">
            <a:extLst>
              <a:ext uri="{FF2B5EF4-FFF2-40B4-BE49-F238E27FC236}">
                <a16:creationId xmlns:a16="http://schemas.microsoft.com/office/drawing/2014/main" id="{1F87F3CC-F5A6-3B0B-41BA-9F25BB0478A1}"/>
              </a:ext>
            </a:extLst>
          </p:cNvPr>
          <p:cNvSpPr txBox="1"/>
          <p:nvPr/>
        </p:nvSpPr>
        <p:spPr>
          <a:xfrm>
            <a:off x="3506260" y="5199583"/>
            <a:ext cx="1076360"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a:ln>
                  <a:noFill/>
                </a:ln>
                <a:solidFill>
                  <a:srgbClr val="545353"/>
                </a:solidFill>
                <a:effectLst/>
                <a:uLnTx/>
                <a:uFillTx/>
                <a:latin typeface="Poppins"/>
                <a:ea typeface="Source Sans Pro" panose="020B0503030403020204" pitchFamily="34" charset="0"/>
                <a:cs typeface="+mn-cs"/>
              </a:rPr>
              <a:t>Price and discounts</a:t>
            </a:r>
          </a:p>
        </p:txBody>
      </p:sp>
      <p:sp>
        <p:nvSpPr>
          <p:cNvPr id="2053" name="TextBox 89">
            <a:extLst>
              <a:ext uri="{FF2B5EF4-FFF2-40B4-BE49-F238E27FC236}">
                <a16:creationId xmlns:a16="http://schemas.microsoft.com/office/drawing/2014/main" id="{3FAB8156-5B35-9EDE-3919-C49CFA9CAC37}"/>
              </a:ext>
            </a:extLst>
          </p:cNvPr>
          <p:cNvSpPr txBox="1"/>
          <p:nvPr/>
        </p:nvSpPr>
        <p:spPr>
          <a:xfrm>
            <a:off x="878397"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18</a:t>
            </a:r>
          </a:p>
        </p:txBody>
      </p:sp>
      <p:pic>
        <p:nvPicPr>
          <p:cNvPr id="2054" name="Imagen 2053">
            <a:extLst>
              <a:ext uri="{FF2B5EF4-FFF2-40B4-BE49-F238E27FC236}">
                <a16:creationId xmlns:a16="http://schemas.microsoft.com/office/drawing/2014/main" id="{84F8C711-D32A-C05A-ABBA-74E0852519DA}"/>
              </a:ext>
            </a:extLst>
          </p:cNvPr>
          <p:cNvPicPr>
            <a:picLocks noChangeAspect="1"/>
          </p:cNvPicPr>
          <p:nvPr/>
        </p:nvPicPr>
        <p:blipFill>
          <a:blip r:embed="rId20">
            <a:duotone>
              <a:schemeClr val="accent1">
                <a:shade val="45000"/>
                <a:satMod val="135000"/>
              </a:schemeClr>
              <a:prstClr val="white"/>
            </a:duotone>
          </a:blip>
          <a:stretch>
            <a:fillRect/>
          </a:stretch>
        </p:blipFill>
        <p:spPr>
          <a:xfrm>
            <a:off x="1225320" y="4266776"/>
            <a:ext cx="585353" cy="585353"/>
          </a:xfrm>
          <a:prstGeom prst="rect">
            <a:avLst/>
          </a:prstGeom>
          <a:solidFill>
            <a:srgbClr val="F3F3F3"/>
          </a:solidFill>
        </p:spPr>
      </p:pic>
      <p:pic>
        <p:nvPicPr>
          <p:cNvPr id="2055" name="Imagen 2054">
            <a:extLst>
              <a:ext uri="{FF2B5EF4-FFF2-40B4-BE49-F238E27FC236}">
                <a16:creationId xmlns:a16="http://schemas.microsoft.com/office/drawing/2014/main" id="{610F28B7-3EC2-6CFF-FA83-C80050D212C7}"/>
              </a:ext>
            </a:extLst>
          </p:cNvPr>
          <p:cNvPicPr>
            <a:picLocks noChangeAspect="1"/>
          </p:cNvPicPr>
          <p:nvPr/>
        </p:nvPicPr>
        <p:blipFill>
          <a:blip r:embed="rId21">
            <a:duotone>
              <a:schemeClr val="accent1">
                <a:shade val="45000"/>
                <a:satMod val="135000"/>
              </a:schemeClr>
              <a:prstClr val="white"/>
            </a:duotone>
          </a:blip>
          <a:stretch>
            <a:fillRect/>
          </a:stretch>
        </p:blipFill>
        <p:spPr>
          <a:xfrm>
            <a:off x="5048868" y="4289825"/>
            <a:ext cx="607914" cy="607914"/>
          </a:xfrm>
          <a:prstGeom prst="rect">
            <a:avLst/>
          </a:prstGeom>
        </p:spPr>
      </p:pic>
      <p:pic>
        <p:nvPicPr>
          <p:cNvPr id="2056" name="Imagen 2055">
            <a:extLst>
              <a:ext uri="{FF2B5EF4-FFF2-40B4-BE49-F238E27FC236}">
                <a16:creationId xmlns:a16="http://schemas.microsoft.com/office/drawing/2014/main" id="{CCF961E0-AC45-4B07-1629-7D164BCE2B01}"/>
              </a:ext>
            </a:extLst>
          </p:cNvPr>
          <p:cNvPicPr>
            <a:picLocks noChangeAspect="1"/>
          </p:cNvPicPr>
          <p:nvPr/>
        </p:nvPicPr>
        <p:blipFill>
          <a:blip r:embed="rId22">
            <a:duotone>
              <a:schemeClr val="accent1">
                <a:shade val="45000"/>
                <a:satMod val="135000"/>
              </a:schemeClr>
              <a:prstClr val="white"/>
            </a:duotone>
          </a:blip>
          <a:stretch>
            <a:fillRect/>
          </a:stretch>
        </p:blipFill>
        <p:spPr>
          <a:xfrm>
            <a:off x="3775979" y="4266776"/>
            <a:ext cx="634238" cy="634238"/>
          </a:xfrm>
          <a:prstGeom prst="rect">
            <a:avLst/>
          </a:prstGeom>
        </p:spPr>
      </p:pic>
      <p:sp>
        <p:nvSpPr>
          <p:cNvPr id="2057" name="TextBox 89">
            <a:extLst>
              <a:ext uri="{FF2B5EF4-FFF2-40B4-BE49-F238E27FC236}">
                <a16:creationId xmlns:a16="http://schemas.microsoft.com/office/drawing/2014/main" id="{130C7638-7999-F001-DAB8-4BA371316C89}"/>
              </a:ext>
            </a:extLst>
          </p:cNvPr>
          <p:cNvSpPr txBox="1"/>
          <p:nvPr/>
        </p:nvSpPr>
        <p:spPr>
          <a:xfrm>
            <a:off x="4825450"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8</a:t>
            </a:r>
          </a:p>
        </p:txBody>
      </p:sp>
      <p:sp>
        <p:nvSpPr>
          <p:cNvPr id="2058" name="TextBox 89">
            <a:extLst>
              <a:ext uri="{FF2B5EF4-FFF2-40B4-BE49-F238E27FC236}">
                <a16:creationId xmlns:a16="http://schemas.microsoft.com/office/drawing/2014/main" id="{FE341C77-7D1F-7B1D-657B-D6BC8503026E}"/>
              </a:ext>
            </a:extLst>
          </p:cNvPr>
          <p:cNvSpPr txBox="1"/>
          <p:nvPr/>
        </p:nvSpPr>
        <p:spPr>
          <a:xfrm>
            <a:off x="2208724"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10</a:t>
            </a:r>
          </a:p>
        </p:txBody>
      </p:sp>
      <p:sp>
        <p:nvSpPr>
          <p:cNvPr id="2059" name="TextBox 86">
            <a:extLst>
              <a:ext uri="{FF2B5EF4-FFF2-40B4-BE49-F238E27FC236}">
                <a16:creationId xmlns:a16="http://schemas.microsoft.com/office/drawing/2014/main" id="{323E8E00-E950-CDC4-3645-ADCA0F49C1F2}"/>
              </a:ext>
            </a:extLst>
          </p:cNvPr>
          <p:cNvSpPr txBox="1"/>
          <p:nvPr/>
        </p:nvSpPr>
        <p:spPr>
          <a:xfrm>
            <a:off x="1974122" y="5199583"/>
            <a:ext cx="1540733"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a:ln>
                  <a:noFill/>
                </a:ln>
                <a:solidFill>
                  <a:srgbClr val="545353"/>
                </a:solidFill>
                <a:effectLst/>
                <a:uLnTx/>
                <a:uFillTx/>
                <a:latin typeface="Poppins"/>
                <a:ea typeface="Source Sans Pro" panose="020B0503030403020204" pitchFamily="34" charset="0"/>
                <a:cs typeface="+mn-cs"/>
              </a:rPr>
              <a:t>Variety and quality of photographs</a:t>
            </a:r>
          </a:p>
        </p:txBody>
      </p:sp>
      <p:sp>
        <p:nvSpPr>
          <p:cNvPr id="2060" name="TextBox 89">
            <a:extLst>
              <a:ext uri="{FF2B5EF4-FFF2-40B4-BE49-F238E27FC236}">
                <a16:creationId xmlns:a16="http://schemas.microsoft.com/office/drawing/2014/main" id="{09703DC3-E055-966A-0DCE-013414CA696D}"/>
              </a:ext>
            </a:extLst>
          </p:cNvPr>
          <p:cNvSpPr txBox="1"/>
          <p:nvPr/>
        </p:nvSpPr>
        <p:spPr>
          <a:xfrm>
            <a:off x="6026499"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7</a:t>
            </a:r>
          </a:p>
        </p:txBody>
      </p:sp>
      <p:sp>
        <p:nvSpPr>
          <p:cNvPr id="2061" name="TextBox 86">
            <a:extLst>
              <a:ext uri="{FF2B5EF4-FFF2-40B4-BE49-F238E27FC236}">
                <a16:creationId xmlns:a16="http://schemas.microsoft.com/office/drawing/2014/main" id="{B84872C5-AC69-D4B7-7A2D-B87D31D0180B}"/>
              </a:ext>
            </a:extLst>
          </p:cNvPr>
          <p:cNvSpPr txBox="1"/>
          <p:nvPr/>
        </p:nvSpPr>
        <p:spPr>
          <a:xfrm>
            <a:off x="6026499" y="5199583"/>
            <a:ext cx="1076360"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dirty="0" err="1">
                <a:ln>
                  <a:noFill/>
                </a:ln>
                <a:solidFill>
                  <a:srgbClr val="545353"/>
                </a:solidFill>
                <a:effectLst/>
                <a:uLnTx/>
                <a:uFillTx/>
                <a:latin typeface="Poppins"/>
                <a:ea typeface="Source Sans Pro" panose="020B0503030403020204" pitchFamily="34" charset="0"/>
                <a:cs typeface="+mn-cs"/>
              </a:rPr>
              <a:t>Producs</a:t>
            </a:r>
            <a:r>
              <a:rPr kumimoji="0" lang="en-US" sz="1000" b="1" i="0" u="none" strike="noStrike" kern="1200" cap="none" spc="-15" normalizeH="0" baseline="0" dirty="0">
                <a:ln>
                  <a:noFill/>
                </a:ln>
                <a:solidFill>
                  <a:srgbClr val="545353"/>
                </a:solidFill>
                <a:effectLst/>
                <a:uLnTx/>
                <a:uFillTx/>
                <a:latin typeface="Poppins"/>
                <a:ea typeface="Source Sans Pro" panose="020B0503030403020204" pitchFamily="34" charset="0"/>
                <a:cs typeface="+mn-cs"/>
              </a:rPr>
              <a:t> variety</a:t>
            </a:r>
          </a:p>
        </p:txBody>
      </p:sp>
      <p:pic>
        <p:nvPicPr>
          <p:cNvPr id="2062" name="Imagen 2061">
            <a:extLst>
              <a:ext uri="{FF2B5EF4-FFF2-40B4-BE49-F238E27FC236}">
                <a16:creationId xmlns:a16="http://schemas.microsoft.com/office/drawing/2014/main" id="{24839C3C-0A3A-B8F5-3E19-193DB04E3F0D}"/>
              </a:ext>
            </a:extLst>
          </p:cNvPr>
          <p:cNvPicPr>
            <a:picLocks noChangeAspect="1"/>
          </p:cNvPicPr>
          <p:nvPr/>
        </p:nvPicPr>
        <p:blipFill>
          <a:blip r:embed="rId23">
            <a:duotone>
              <a:schemeClr val="accent1">
                <a:shade val="45000"/>
                <a:satMod val="135000"/>
              </a:schemeClr>
              <a:prstClr val="white"/>
            </a:duotone>
          </a:blip>
          <a:stretch>
            <a:fillRect/>
          </a:stretch>
        </p:blipFill>
        <p:spPr>
          <a:xfrm>
            <a:off x="2506034" y="4266776"/>
            <a:ext cx="668207" cy="668207"/>
          </a:xfrm>
          <a:prstGeom prst="rect">
            <a:avLst/>
          </a:prstGeom>
          <a:solidFill>
            <a:srgbClr val="F3F3F3"/>
          </a:solidFill>
        </p:spPr>
      </p:pic>
      <p:sp>
        <p:nvSpPr>
          <p:cNvPr id="2063" name="TextBox 89">
            <a:extLst>
              <a:ext uri="{FF2B5EF4-FFF2-40B4-BE49-F238E27FC236}">
                <a16:creationId xmlns:a16="http://schemas.microsoft.com/office/drawing/2014/main" id="{F2318FCF-B075-4DD3-B60D-FDD7E77FD420}"/>
              </a:ext>
            </a:extLst>
          </p:cNvPr>
          <p:cNvSpPr txBox="1"/>
          <p:nvPr/>
        </p:nvSpPr>
        <p:spPr>
          <a:xfrm>
            <a:off x="7335247"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3</a:t>
            </a:r>
          </a:p>
        </p:txBody>
      </p:sp>
      <p:sp>
        <p:nvSpPr>
          <p:cNvPr id="2064" name="TextBox 86">
            <a:extLst>
              <a:ext uri="{FF2B5EF4-FFF2-40B4-BE49-F238E27FC236}">
                <a16:creationId xmlns:a16="http://schemas.microsoft.com/office/drawing/2014/main" id="{E3EE183C-814A-F9E8-7C19-203DB8A9F54E}"/>
              </a:ext>
            </a:extLst>
          </p:cNvPr>
          <p:cNvSpPr txBox="1"/>
          <p:nvPr/>
        </p:nvSpPr>
        <p:spPr>
          <a:xfrm>
            <a:off x="7349620" y="5199583"/>
            <a:ext cx="1076360"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dirty="0">
                <a:ln>
                  <a:noFill/>
                </a:ln>
                <a:solidFill>
                  <a:srgbClr val="545353"/>
                </a:solidFill>
                <a:effectLst/>
                <a:uLnTx/>
                <a:uFillTx/>
                <a:latin typeface="Poppins"/>
                <a:ea typeface="Source Sans Pro" panose="020B0503030403020204" pitchFamily="34" charset="0"/>
                <a:cs typeface="+mn-cs"/>
              </a:rPr>
              <a:t>Free shipping</a:t>
            </a:r>
          </a:p>
        </p:txBody>
      </p:sp>
      <p:pic>
        <p:nvPicPr>
          <p:cNvPr id="2065" name="Imagen 2064">
            <a:extLst>
              <a:ext uri="{FF2B5EF4-FFF2-40B4-BE49-F238E27FC236}">
                <a16:creationId xmlns:a16="http://schemas.microsoft.com/office/drawing/2014/main" id="{A59560D1-8220-6F4F-8851-F0E3B547869B}"/>
              </a:ext>
            </a:extLst>
          </p:cNvPr>
          <p:cNvPicPr>
            <a:picLocks noChangeAspect="1"/>
          </p:cNvPicPr>
          <p:nvPr/>
        </p:nvPicPr>
        <p:blipFill>
          <a:blip r:embed="rId24"/>
          <a:stretch>
            <a:fillRect/>
          </a:stretch>
        </p:blipFill>
        <p:spPr>
          <a:xfrm>
            <a:off x="6265461" y="4274386"/>
            <a:ext cx="576823" cy="576823"/>
          </a:xfrm>
          <a:prstGeom prst="rect">
            <a:avLst/>
          </a:prstGeom>
        </p:spPr>
      </p:pic>
      <p:pic>
        <p:nvPicPr>
          <p:cNvPr id="2066" name="Imagen 2065">
            <a:extLst>
              <a:ext uri="{FF2B5EF4-FFF2-40B4-BE49-F238E27FC236}">
                <a16:creationId xmlns:a16="http://schemas.microsoft.com/office/drawing/2014/main" id="{5F134272-49F8-0858-C569-98D6916C684E}"/>
              </a:ext>
            </a:extLst>
          </p:cNvPr>
          <p:cNvPicPr>
            <a:picLocks noChangeAspect="1"/>
          </p:cNvPicPr>
          <p:nvPr/>
        </p:nvPicPr>
        <p:blipFill>
          <a:blip r:embed="rId25">
            <a:duotone>
              <a:schemeClr val="accent1">
                <a:shade val="45000"/>
                <a:satMod val="135000"/>
              </a:schemeClr>
              <a:prstClr val="white"/>
            </a:duotone>
          </a:blip>
          <a:stretch>
            <a:fillRect/>
          </a:stretch>
        </p:blipFill>
        <p:spPr>
          <a:xfrm>
            <a:off x="7553697" y="4301089"/>
            <a:ext cx="668207" cy="668207"/>
          </a:xfrm>
          <a:prstGeom prst="rect">
            <a:avLst/>
          </a:prstGeom>
        </p:spPr>
      </p:pic>
      <p:sp>
        <p:nvSpPr>
          <p:cNvPr id="2067" name="TextBox 89">
            <a:extLst>
              <a:ext uri="{FF2B5EF4-FFF2-40B4-BE49-F238E27FC236}">
                <a16:creationId xmlns:a16="http://schemas.microsoft.com/office/drawing/2014/main" id="{94E5EF5B-2615-E3A9-F27B-030F506270A1}"/>
              </a:ext>
            </a:extLst>
          </p:cNvPr>
          <p:cNvSpPr txBox="1"/>
          <p:nvPr/>
        </p:nvSpPr>
        <p:spPr>
          <a:xfrm>
            <a:off x="8624727"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1</a:t>
            </a:r>
          </a:p>
        </p:txBody>
      </p:sp>
      <p:sp>
        <p:nvSpPr>
          <p:cNvPr id="2068" name="TextBox 86">
            <a:extLst>
              <a:ext uri="{FF2B5EF4-FFF2-40B4-BE49-F238E27FC236}">
                <a16:creationId xmlns:a16="http://schemas.microsoft.com/office/drawing/2014/main" id="{AD18C71D-3A56-DC5C-0BF8-1ED09467FC35}"/>
              </a:ext>
            </a:extLst>
          </p:cNvPr>
          <p:cNvSpPr txBox="1"/>
          <p:nvPr/>
        </p:nvSpPr>
        <p:spPr>
          <a:xfrm>
            <a:off x="8639100" y="5199583"/>
            <a:ext cx="1076360"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dirty="0">
                <a:ln>
                  <a:noFill/>
                </a:ln>
                <a:solidFill>
                  <a:srgbClr val="545353"/>
                </a:solidFill>
                <a:effectLst/>
                <a:uLnTx/>
                <a:uFillTx/>
                <a:latin typeface="Poppins"/>
                <a:ea typeface="Source Sans Pro" panose="020B0503030403020204" pitchFamily="34" charset="0"/>
                <a:cs typeface="+mn-cs"/>
              </a:rPr>
              <a:t>Delivery times</a:t>
            </a:r>
          </a:p>
        </p:txBody>
      </p:sp>
      <p:sp>
        <p:nvSpPr>
          <p:cNvPr id="2069" name="TextBox 89">
            <a:extLst>
              <a:ext uri="{FF2B5EF4-FFF2-40B4-BE49-F238E27FC236}">
                <a16:creationId xmlns:a16="http://schemas.microsoft.com/office/drawing/2014/main" id="{A463DABA-DA2D-47B1-8AFD-E1DBA5741992}"/>
              </a:ext>
            </a:extLst>
          </p:cNvPr>
          <p:cNvSpPr txBox="1"/>
          <p:nvPr/>
        </p:nvSpPr>
        <p:spPr>
          <a:xfrm>
            <a:off x="9908303" y="4987903"/>
            <a:ext cx="1054749"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15" normalizeH="0" baseline="0" noProof="0">
                <a:ln>
                  <a:noFill/>
                </a:ln>
                <a:solidFill>
                  <a:srgbClr val="545353"/>
                </a:solidFill>
                <a:effectLst/>
                <a:uLnTx/>
                <a:uFillTx/>
                <a:latin typeface="Poppins"/>
                <a:ea typeface="Source Sans Pro" panose="020B0503030403020204" pitchFamily="34" charset="0"/>
                <a:cs typeface="+mn-cs"/>
              </a:rPr>
              <a:t>1</a:t>
            </a:r>
          </a:p>
        </p:txBody>
      </p:sp>
      <p:sp>
        <p:nvSpPr>
          <p:cNvPr id="2070" name="TextBox 86">
            <a:extLst>
              <a:ext uri="{FF2B5EF4-FFF2-40B4-BE49-F238E27FC236}">
                <a16:creationId xmlns:a16="http://schemas.microsoft.com/office/drawing/2014/main" id="{4F4EC018-58E0-F3BC-7BC3-78D4295703E0}"/>
              </a:ext>
            </a:extLst>
          </p:cNvPr>
          <p:cNvSpPr txBox="1"/>
          <p:nvPr/>
        </p:nvSpPr>
        <p:spPr>
          <a:xfrm>
            <a:off x="9702508" y="5199583"/>
            <a:ext cx="1541486"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rPr>
              <a:t>Ease of refunds and returns</a:t>
            </a:r>
            <a:endParaRPr kumimoji="0" lang="es-CO" sz="1000" b="1" i="0" u="none" strike="noStrike" kern="1200" cap="none" spc="-15" normalizeH="0" baseline="0" noProof="0" dirty="0">
              <a:ln>
                <a:noFill/>
              </a:ln>
              <a:solidFill>
                <a:srgbClr val="545353"/>
              </a:solidFill>
              <a:effectLst/>
              <a:uLnTx/>
              <a:uFillTx/>
              <a:latin typeface="Poppins"/>
              <a:ea typeface="Source Sans Pro" panose="020B0503030403020204" pitchFamily="34" charset="0"/>
              <a:cs typeface="+mn-cs"/>
            </a:endParaRPr>
          </a:p>
        </p:txBody>
      </p:sp>
      <p:pic>
        <p:nvPicPr>
          <p:cNvPr id="2071" name="Imagen 2070">
            <a:extLst>
              <a:ext uri="{FF2B5EF4-FFF2-40B4-BE49-F238E27FC236}">
                <a16:creationId xmlns:a16="http://schemas.microsoft.com/office/drawing/2014/main" id="{4A4A22B5-1D60-78BA-9E77-B3E29578716A}"/>
              </a:ext>
            </a:extLst>
          </p:cNvPr>
          <p:cNvPicPr>
            <a:picLocks noChangeAspect="1"/>
          </p:cNvPicPr>
          <p:nvPr/>
        </p:nvPicPr>
        <p:blipFill>
          <a:blip r:embed="rId26">
            <a:duotone>
              <a:schemeClr val="accent1">
                <a:shade val="45000"/>
                <a:satMod val="135000"/>
              </a:schemeClr>
              <a:prstClr val="white"/>
            </a:duotone>
          </a:blip>
          <a:stretch>
            <a:fillRect/>
          </a:stretch>
        </p:blipFill>
        <p:spPr>
          <a:xfrm>
            <a:off x="10244229" y="4338929"/>
            <a:ext cx="585852" cy="585852"/>
          </a:xfrm>
          <a:prstGeom prst="rect">
            <a:avLst/>
          </a:prstGeom>
        </p:spPr>
      </p:pic>
      <p:pic>
        <p:nvPicPr>
          <p:cNvPr id="2072" name="Imagen 2071">
            <a:extLst>
              <a:ext uri="{FF2B5EF4-FFF2-40B4-BE49-F238E27FC236}">
                <a16:creationId xmlns:a16="http://schemas.microsoft.com/office/drawing/2014/main" id="{FC4B638C-F457-A2FC-03FD-451BAE8A709B}"/>
              </a:ext>
            </a:extLst>
          </p:cNvPr>
          <p:cNvPicPr>
            <a:picLocks noChangeAspect="1"/>
          </p:cNvPicPr>
          <p:nvPr/>
        </p:nvPicPr>
        <p:blipFill>
          <a:blip r:embed="rId27">
            <a:duotone>
              <a:schemeClr val="accent1">
                <a:shade val="45000"/>
                <a:satMod val="135000"/>
              </a:schemeClr>
              <a:prstClr val="white"/>
            </a:duotone>
          </a:blip>
          <a:stretch>
            <a:fillRect/>
          </a:stretch>
        </p:blipFill>
        <p:spPr>
          <a:xfrm>
            <a:off x="8887302" y="4397326"/>
            <a:ext cx="571970" cy="571970"/>
          </a:xfrm>
          <a:prstGeom prst="rect">
            <a:avLst/>
          </a:prstGeom>
        </p:spPr>
      </p:pic>
      <p:sp>
        <p:nvSpPr>
          <p:cNvPr id="2073" name="Elipse 2072">
            <a:extLst>
              <a:ext uri="{FF2B5EF4-FFF2-40B4-BE49-F238E27FC236}">
                <a16:creationId xmlns:a16="http://schemas.microsoft.com/office/drawing/2014/main" id="{D5F942B6-F8B5-2C16-3413-E521C5EE4B98}"/>
              </a:ext>
            </a:extLst>
          </p:cNvPr>
          <p:cNvSpPr/>
          <p:nvPr/>
        </p:nvSpPr>
        <p:spPr>
          <a:xfrm>
            <a:off x="11386967" y="4876123"/>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3"/>
              </a:solidFill>
              <a:effectLst/>
              <a:uLnTx/>
              <a:uFillTx/>
              <a:latin typeface="Poppins"/>
              <a:ea typeface="+mn-ea"/>
              <a:cs typeface="+mn-cs"/>
            </a:endParaRPr>
          </a:p>
        </p:txBody>
      </p:sp>
      <p:sp>
        <p:nvSpPr>
          <p:cNvPr id="2074" name="Elipse 2073">
            <a:extLst>
              <a:ext uri="{FF2B5EF4-FFF2-40B4-BE49-F238E27FC236}">
                <a16:creationId xmlns:a16="http://schemas.microsoft.com/office/drawing/2014/main" id="{0C10CADF-A68D-66C4-C31F-B183D346B976}"/>
              </a:ext>
            </a:extLst>
          </p:cNvPr>
          <p:cNvSpPr/>
          <p:nvPr/>
        </p:nvSpPr>
        <p:spPr>
          <a:xfrm>
            <a:off x="11386967" y="4243239"/>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3"/>
              </a:solidFill>
              <a:effectLst/>
              <a:uLnTx/>
              <a:uFillTx/>
              <a:latin typeface="Poppins"/>
              <a:ea typeface="+mn-ea"/>
              <a:cs typeface="+mn-cs"/>
            </a:endParaRPr>
          </a:p>
        </p:txBody>
      </p:sp>
      <p:pic>
        <p:nvPicPr>
          <p:cNvPr id="2075" name="Sonido grabado">
            <a:hlinkClick r:id="" action="ppaction://media"/>
            <a:extLst>
              <a:ext uri="{FF2B5EF4-FFF2-40B4-BE49-F238E27FC236}">
                <a16:creationId xmlns:a16="http://schemas.microsoft.com/office/drawing/2014/main" id="{AA4DF35C-B0E0-3916-C672-866A6A73F991}"/>
              </a:ext>
            </a:extLst>
          </p:cNvPr>
          <p:cNvPicPr>
            <a:picLocks noChangeAspect="1"/>
          </p:cNvPicPr>
          <p:nvPr>
            <a:audioFile r:link="rId1"/>
            <p:extLst>
              <p:ext uri="{DAA4B4D4-6D71-4841-9C94-3DE7FCFB9230}">
                <p14:media xmlns:p14="http://schemas.microsoft.com/office/powerpoint/2010/main" r:embed="rId4">
                  <p14:trim end="309.941"/>
                </p14:media>
              </p:ext>
            </p:extLst>
          </p:nvPr>
        </p:nvPicPr>
        <p:blipFill>
          <a:blip r:embed="rId19"/>
          <a:stretch>
            <a:fillRect/>
          </a:stretch>
        </p:blipFill>
        <p:spPr>
          <a:xfrm>
            <a:off x="11422967" y="4912123"/>
            <a:ext cx="288000" cy="288000"/>
          </a:xfrm>
          <a:prstGeom prst="rect">
            <a:avLst/>
          </a:prstGeom>
        </p:spPr>
      </p:pic>
      <p:pic>
        <p:nvPicPr>
          <p:cNvPr id="2076" name="Sonido grabado">
            <a:hlinkClick r:id="" action="ppaction://media"/>
            <a:extLst>
              <a:ext uri="{FF2B5EF4-FFF2-40B4-BE49-F238E27FC236}">
                <a16:creationId xmlns:a16="http://schemas.microsoft.com/office/drawing/2014/main" id="{F12CED7C-8667-2A9A-532A-F7AE2F75D2AF}"/>
              </a:ext>
            </a:extLst>
          </p:cNvPr>
          <p:cNvPicPr>
            <a:picLocks noChangeAspect="1"/>
          </p:cNvPicPr>
          <p:nvPr>
            <a:audioFile r:link="rId1"/>
            <p:extLst>
              <p:ext uri="{DAA4B4D4-6D71-4841-9C94-3DE7FCFB9230}">
                <p14:media xmlns:p14="http://schemas.microsoft.com/office/powerpoint/2010/main" r:embed="rId5">
                  <p14:trim end="287.3287"/>
                </p14:media>
              </p:ext>
            </p:extLst>
          </p:nvPr>
        </p:nvPicPr>
        <p:blipFill>
          <a:blip r:embed="rId19"/>
          <a:stretch>
            <a:fillRect/>
          </a:stretch>
        </p:blipFill>
        <p:spPr>
          <a:xfrm>
            <a:off x="11422967" y="4279239"/>
            <a:ext cx="288000" cy="288000"/>
          </a:xfrm>
          <a:prstGeom prst="rect">
            <a:avLst/>
          </a:prstGeom>
        </p:spPr>
      </p:pic>
      <p:pic>
        <p:nvPicPr>
          <p:cNvPr id="2077" name="Imagen 86">
            <a:extLst>
              <a:ext uri="{FF2B5EF4-FFF2-40B4-BE49-F238E27FC236}">
                <a16:creationId xmlns:a16="http://schemas.microsoft.com/office/drawing/2014/main" id="{BA74C271-9F98-430C-2E2D-B9E78BEEC4EF}"/>
              </a:ext>
            </a:extLst>
          </p:cNvPr>
          <p:cNvPicPr>
            <a:picLocks noChangeAspect="1"/>
          </p:cNvPicPr>
          <p:nvPr/>
        </p:nvPicPr>
        <p:blipFill>
          <a:blip r:embed="rId21">
            <a:duotone>
              <a:schemeClr val="accent1">
                <a:shade val="45000"/>
                <a:satMod val="135000"/>
              </a:schemeClr>
              <a:prstClr val="white"/>
            </a:duotone>
          </a:blip>
          <a:stretch>
            <a:fillRect/>
          </a:stretch>
        </p:blipFill>
        <p:spPr>
          <a:xfrm>
            <a:off x="5133160" y="4266776"/>
            <a:ext cx="607914" cy="607914"/>
          </a:xfrm>
          <a:prstGeom prst="rect">
            <a:avLst/>
          </a:prstGeom>
        </p:spPr>
      </p:pic>
      <p:pic>
        <p:nvPicPr>
          <p:cNvPr id="2078" name="Imagen 98">
            <a:extLst>
              <a:ext uri="{FF2B5EF4-FFF2-40B4-BE49-F238E27FC236}">
                <a16:creationId xmlns:a16="http://schemas.microsoft.com/office/drawing/2014/main" id="{57B9640A-71E6-4691-5392-385A80BFAC64}"/>
              </a:ext>
            </a:extLst>
          </p:cNvPr>
          <p:cNvPicPr>
            <a:picLocks noChangeAspect="1"/>
          </p:cNvPicPr>
          <p:nvPr/>
        </p:nvPicPr>
        <p:blipFill>
          <a:blip r:embed="rId24"/>
          <a:stretch>
            <a:fillRect/>
          </a:stretch>
        </p:blipFill>
        <p:spPr>
          <a:xfrm>
            <a:off x="6349753" y="4266776"/>
            <a:ext cx="576823" cy="576823"/>
          </a:xfrm>
          <a:prstGeom prst="rect">
            <a:avLst/>
          </a:prstGeom>
        </p:spPr>
      </p:pic>
      <p:pic>
        <p:nvPicPr>
          <p:cNvPr id="2079" name="Imagen 100">
            <a:extLst>
              <a:ext uri="{FF2B5EF4-FFF2-40B4-BE49-F238E27FC236}">
                <a16:creationId xmlns:a16="http://schemas.microsoft.com/office/drawing/2014/main" id="{4B3AAEF5-5516-ECF9-65AD-9C248796BF4F}"/>
              </a:ext>
            </a:extLst>
          </p:cNvPr>
          <p:cNvPicPr>
            <a:picLocks noChangeAspect="1"/>
          </p:cNvPicPr>
          <p:nvPr/>
        </p:nvPicPr>
        <p:blipFill>
          <a:blip r:embed="rId25">
            <a:duotone>
              <a:schemeClr val="accent1">
                <a:shade val="45000"/>
                <a:satMod val="135000"/>
              </a:schemeClr>
              <a:prstClr val="white"/>
            </a:duotone>
          </a:blip>
          <a:stretch>
            <a:fillRect/>
          </a:stretch>
        </p:blipFill>
        <p:spPr>
          <a:xfrm>
            <a:off x="7637989" y="4266776"/>
            <a:ext cx="668207" cy="668207"/>
          </a:xfrm>
          <a:prstGeom prst="rect">
            <a:avLst/>
          </a:prstGeom>
        </p:spPr>
      </p:pic>
      <p:pic>
        <p:nvPicPr>
          <p:cNvPr id="2080" name="Imagen 106">
            <a:extLst>
              <a:ext uri="{FF2B5EF4-FFF2-40B4-BE49-F238E27FC236}">
                <a16:creationId xmlns:a16="http://schemas.microsoft.com/office/drawing/2014/main" id="{189F7EA3-A3F5-4F1F-B9E1-0076B5978E9C}"/>
              </a:ext>
            </a:extLst>
          </p:cNvPr>
          <p:cNvPicPr>
            <a:picLocks noChangeAspect="1"/>
          </p:cNvPicPr>
          <p:nvPr/>
        </p:nvPicPr>
        <p:blipFill>
          <a:blip r:embed="rId26">
            <a:duotone>
              <a:schemeClr val="accent1">
                <a:shade val="45000"/>
                <a:satMod val="135000"/>
              </a:schemeClr>
              <a:prstClr val="white"/>
            </a:duotone>
          </a:blip>
          <a:stretch>
            <a:fillRect/>
          </a:stretch>
        </p:blipFill>
        <p:spPr>
          <a:xfrm>
            <a:off x="10328521" y="4266776"/>
            <a:ext cx="585852" cy="585852"/>
          </a:xfrm>
          <a:prstGeom prst="rect">
            <a:avLst/>
          </a:prstGeom>
        </p:spPr>
      </p:pic>
      <p:pic>
        <p:nvPicPr>
          <p:cNvPr id="2081" name="Imagen 108">
            <a:extLst>
              <a:ext uri="{FF2B5EF4-FFF2-40B4-BE49-F238E27FC236}">
                <a16:creationId xmlns:a16="http://schemas.microsoft.com/office/drawing/2014/main" id="{75AC9DFE-06F0-D89F-002A-92897407475D}"/>
              </a:ext>
            </a:extLst>
          </p:cNvPr>
          <p:cNvPicPr>
            <a:picLocks noChangeAspect="1"/>
          </p:cNvPicPr>
          <p:nvPr/>
        </p:nvPicPr>
        <p:blipFill>
          <a:blip r:embed="rId27">
            <a:duotone>
              <a:schemeClr val="accent1">
                <a:shade val="45000"/>
                <a:satMod val="135000"/>
              </a:schemeClr>
              <a:prstClr val="white"/>
            </a:duotone>
          </a:blip>
          <a:stretch>
            <a:fillRect/>
          </a:stretch>
        </p:blipFill>
        <p:spPr>
          <a:xfrm>
            <a:off x="8971594" y="4266776"/>
            <a:ext cx="571970" cy="571970"/>
          </a:xfrm>
          <a:prstGeom prst="rect">
            <a:avLst/>
          </a:prstGeom>
        </p:spPr>
      </p:pic>
      <p:sp>
        <p:nvSpPr>
          <p:cNvPr id="2082" name="Rectángulo: esquinas superiores redondeadas 2081">
            <a:extLst>
              <a:ext uri="{FF2B5EF4-FFF2-40B4-BE49-F238E27FC236}">
                <a16:creationId xmlns:a16="http://schemas.microsoft.com/office/drawing/2014/main" id="{90F68DFE-2FF8-1406-648D-C9A48A7590DD}"/>
              </a:ext>
            </a:extLst>
          </p:cNvPr>
          <p:cNvSpPr/>
          <p:nvPr/>
        </p:nvSpPr>
        <p:spPr>
          <a:xfrm>
            <a:off x="873803" y="5858540"/>
            <a:ext cx="6538697" cy="999564"/>
          </a:xfrm>
          <a:prstGeom prst="round2SameRect">
            <a:avLst>
              <a:gd name="adj1" fmla="val 10147"/>
              <a:gd name="adj2" fmla="val 0"/>
            </a:avLst>
          </a:prstGeom>
          <a:solidFill>
            <a:schemeClr val="accent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2083" name="CuadroTexto 2082">
            <a:extLst>
              <a:ext uri="{FF2B5EF4-FFF2-40B4-BE49-F238E27FC236}">
                <a16:creationId xmlns:a16="http://schemas.microsoft.com/office/drawing/2014/main" id="{AD9710C4-91FF-D010-52D0-5126C552BE08}"/>
              </a:ext>
            </a:extLst>
          </p:cNvPr>
          <p:cNvSpPr txBox="1"/>
          <p:nvPr/>
        </p:nvSpPr>
        <p:spPr>
          <a:xfrm>
            <a:off x="903822" y="5949120"/>
            <a:ext cx="6220711"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err="1">
                <a:ln>
                  <a:noFill/>
                </a:ln>
                <a:solidFill>
                  <a:srgbClr val="545353"/>
                </a:solidFill>
                <a:effectLst/>
                <a:uLnTx/>
                <a:uFillTx/>
                <a:latin typeface="Poppins" pitchFamily="2" charset="77"/>
                <a:ea typeface="League Spartan" charset="0"/>
                <a:cs typeface="Poppins" pitchFamily="2" charset="77"/>
              </a:rPr>
              <a:t>Pain</a:t>
            </a:r>
            <a:r>
              <a:rPr kumimoji="0" lang="es-CO" sz="1100" b="1" i="0" u="none" strike="noStrike" kern="1200" cap="none" spc="0" normalizeH="0" baseline="0" noProof="0" dirty="0">
                <a:ln>
                  <a:noFill/>
                </a:ln>
                <a:solidFill>
                  <a:srgbClr val="545353"/>
                </a:solidFill>
                <a:effectLst/>
                <a:uLnTx/>
                <a:uFillTx/>
                <a:latin typeface="Poppins" pitchFamily="2" charset="77"/>
                <a:ea typeface="League Spartan" charset="0"/>
                <a:cs typeface="Poppins" pitchFamily="2" charset="77"/>
              </a:rPr>
              <a:t> </a:t>
            </a:r>
            <a:r>
              <a:rPr kumimoji="0" lang="es-CO" sz="1100" b="1" i="0" u="none" strike="noStrike" kern="1200" cap="none" spc="0" normalizeH="0" baseline="0" noProof="0" dirty="0" err="1">
                <a:ln>
                  <a:noFill/>
                </a:ln>
                <a:solidFill>
                  <a:srgbClr val="545353"/>
                </a:solidFill>
                <a:effectLst/>
                <a:uLnTx/>
                <a:uFillTx/>
                <a:latin typeface="Poppins" pitchFamily="2" charset="77"/>
                <a:ea typeface="League Spartan" charset="0"/>
                <a:cs typeface="Poppins" pitchFamily="2" charset="77"/>
              </a:rPr>
              <a:t>points</a:t>
            </a:r>
            <a:endParaRPr kumimoji="0" lang="es-CO" sz="1100" b="1" i="0" u="none" strike="noStrike" kern="1200" cap="none" spc="0" normalizeH="0" baseline="0" noProof="0" dirty="0">
              <a:ln>
                <a:noFill/>
              </a:ln>
              <a:solidFill>
                <a:srgbClr val="545353"/>
              </a:solidFill>
              <a:effectLst/>
              <a:uLnTx/>
              <a:uFillTx/>
              <a:latin typeface="Poppins" pitchFamily="2" charset="77"/>
              <a:ea typeface="League Spartan" charset="0"/>
              <a:cs typeface="Poppins" pitchFamily="2"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45353"/>
                </a:solidFill>
                <a:effectLst/>
                <a:uLnTx/>
                <a:uFillTx/>
                <a:latin typeface="Poppins" pitchFamily="2" charset="77"/>
                <a:ea typeface="League Spartan" charset="0"/>
                <a:cs typeface="Poppins" pitchFamily="2" charset="77"/>
              </a:rPr>
              <a:t>Opportunities for improvement in loading times and the responsiveness of the webs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45353"/>
                </a:solidFill>
                <a:effectLst/>
                <a:uLnTx/>
                <a:uFillTx/>
                <a:latin typeface="Poppins" pitchFamily="2" charset="77"/>
                <a:ea typeface="League Spartan" charset="0"/>
                <a:cs typeface="Poppins" pitchFamily="2" charset="77"/>
              </a:rPr>
              <a:t>Greater variety of product photographs on the website</a:t>
            </a:r>
            <a:endParaRPr kumimoji="0" lang="es-CO" sz="1100" b="0" i="0" u="none" strike="noStrike" kern="1200" cap="none" spc="0" normalizeH="0" baseline="0" noProof="0" dirty="0">
              <a:ln>
                <a:noFill/>
              </a:ln>
              <a:solidFill>
                <a:srgbClr val="545353"/>
              </a:solidFill>
              <a:effectLst/>
              <a:uLnTx/>
              <a:uFillTx/>
              <a:latin typeface="Poppins" pitchFamily="2" charset="77"/>
              <a:ea typeface="League Spartan" charset="0"/>
              <a:cs typeface="Poppins" pitchFamily="2" charset="77"/>
            </a:endParaRPr>
          </a:p>
        </p:txBody>
      </p:sp>
      <p:sp>
        <p:nvSpPr>
          <p:cNvPr id="2084" name="TextBox 5">
            <a:extLst>
              <a:ext uri="{FF2B5EF4-FFF2-40B4-BE49-F238E27FC236}">
                <a16:creationId xmlns:a16="http://schemas.microsoft.com/office/drawing/2014/main" id="{360959CF-FDE8-F2E3-0025-90548FD8FD67}"/>
              </a:ext>
            </a:extLst>
          </p:cNvPr>
          <p:cNvSpPr txBox="1"/>
          <p:nvPr/>
        </p:nvSpPr>
        <p:spPr>
          <a:xfrm>
            <a:off x="7534071" y="5894693"/>
            <a:ext cx="4657929" cy="923330"/>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900" b="1" i="1" u="none" strike="noStrike" kern="1200" cap="none" spc="0" normalizeH="0" baseline="0" noProof="0" dirty="0" err="1">
                <a:ln>
                  <a:noFill/>
                </a:ln>
                <a:solidFill>
                  <a:srgbClr val="545353"/>
                </a:solidFill>
                <a:effectLst/>
                <a:uLnTx/>
                <a:uFillTx/>
                <a:latin typeface="Poppins"/>
                <a:ea typeface="League Spartan" charset="0"/>
                <a:cs typeface="Poppins" pitchFamily="2" charset="77"/>
              </a:rPr>
              <a:t>Questions</a:t>
            </a:r>
            <a:r>
              <a:rPr kumimoji="0" lang="es-CO" sz="900" b="1" i="1" u="none" strike="noStrike" kern="1200" cap="none" spc="0" normalizeH="0" baseline="0" noProof="0" dirty="0">
                <a:ln>
                  <a:noFill/>
                </a:ln>
                <a:solidFill>
                  <a:srgbClr val="545353"/>
                </a:solidFill>
                <a:effectLst/>
                <a:uLnTx/>
                <a:uFillTx/>
                <a:latin typeface="Poppins"/>
                <a:ea typeface="League Spartan" charset="0"/>
                <a:cs typeface="Poppins" pitchFamily="2" charset="77"/>
              </a:rPr>
              <a: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1" u="none" strike="noStrike" kern="1200" cap="none" spc="0" normalizeH="0" baseline="0" noProof="0" dirty="0">
                <a:ln>
                  <a:noFill/>
                </a:ln>
                <a:solidFill>
                  <a:srgbClr val="545353"/>
                </a:solidFill>
                <a:effectLst/>
                <a:uLnTx/>
                <a:uFillTx/>
                <a:latin typeface="Poppins" pitchFamily="2" charset="77"/>
                <a:ea typeface="+mn-ea"/>
                <a:cs typeface="Poppins" pitchFamily="2" charset="77"/>
              </a:rPr>
              <a:t>What feature of the website would you highlight as one of the reasons you decided to purchase there? N=51</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1" u="none" strike="noStrike" kern="1200" cap="none" spc="0" normalizeH="0" baseline="0" noProof="0" dirty="0">
                <a:ln>
                  <a:noFill/>
                </a:ln>
                <a:solidFill>
                  <a:srgbClr val="545353"/>
                </a:solidFill>
                <a:effectLst/>
                <a:uLnTx/>
                <a:uFillTx/>
                <a:latin typeface="Poppins" pitchFamily="2" charset="77"/>
                <a:ea typeface="+mn-ea"/>
                <a:cs typeface="Poppins" pitchFamily="2" charset="77"/>
              </a:rPr>
              <a:t>What feature of the website would you highlight as one of the reasons why it wasn't necessary to compare it with any other site? N=51</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1" u="none" strike="noStrike" kern="1200" cap="none" spc="0" normalizeH="0" baseline="0" noProof="0" dirty="0">
                <a:ln>
                  <a:noFill/>
                </a:ln>
                <a:solidFill>
                  <a:srgbClr val="545353"/>
                </a:solidFill>
                <a:effectLst/>
                <a:uLnTx/>
                <a:uFillTx/>
                <a:latin typeface="Poppins" pitchFamily="2" charset="77"/>
                <a:ea typeface="+mn-ea"/>
                <a:cs typeface="Poppins" pitchFamily="2" charset="77"/>
              </a:rPr>
              <a:t>Did you encounter any problems while browsing the website? N=47</a:t>
            </a:r>
            <a:endParaRPr kumimoji="0" lang="es-CO" sz="900" b="0" i="1" u="none" strike="noStrike" kern="1200" cap="none" spc="0" normalizeH="0" baseline="0" noProof="0" dirty="0">
              <a:ln>
                <a:noFill/>
              </a:ln>
              <a:solidFill>
                <a:srgbClr val="545353"/>
              </a:solidFill>
              <a:effectLst/>
              <a:uLnTx/>
              <a:uFillTx/>
              <a:latin typeface="Poppins" pitchFamily="2" charset="77"/>
              <a:ea typeface="+mn-ea"/>
              <a:cs typeface="Poppins" pitchFamily="2" charset="77"/>
            </a:endParaRPr>
          </a:p>
        </p:txBody>
      </p:sp>
      <p:sp>
        <p:nvSpPr>
          <p:cNvPr id="2" name="TextBox 1">
            <a:extLst>
              <a:ext uri="{FF2B5EF4-FFF2-40B4-BE49-F238E27FC236}">
                <a16:creationId xmlns:a16="http://schemas.microsoft.com/office/drawing/2014/main" id="{57C06CFE-664D-C1DA-DE85-F39370C66BED}"/>
              </a:ext>
            </a:extLst>
          </p:cNvPr>
          <p:cNvSpPr txBox="1"/>
          <p:nvPr/>
        </p:nvSpPr>
        <p:spPr>
          <a:xfrm>
            <a:off x="8839185" y="65276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4" name="Group 3">
            <a:extLst>
              <a:ext uri="{FF2B5EF4-FFF2-40B4-BE49-F238E27FC236}">
                <a16:creationId xmlns:a16="http://schemas.microsoft.com/office/drawing/2014/main" id="{E680EF11-01F5-46EF-6D3D-EEBFFE4B5B22}"/>
              </a:ext>
            </a:extLst>
          </p:cNvPr>
          <p:cNvGrpSpPr/>
          <p:nvPr/>
        </p:nvGrpSpPr>
        <p:grpSpPr>
          <a:xfrm>
            <a:off x="8853188" y="658109"/>
            <a:ext cx="3141553" cy="266640"/>
            <a:chOff x="8853189" y="1020059"/>
            <a:chExt cx="888390" cy="235526"/>
          </a:xfrm>
        </p:grpSpPr>
        <p:cxnSp>
          <p:nvCxnSpPr>
            <p:cNvPr id="6" name="Straight Connector 5">
              <a:extLst>
                <a:ext uri="{FF2B5EF4-FFF2-40B4-BE49-F238E27FC236}">
                  <a16:creationId xmlns:a16="http://schemas.microsoft.com/office/drawing/2014/main" id="{EF6A8FF9-AAE0-5AB6-E10A-D5469C3574D8}"/>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22747A6-3675-F24B-7B47-461D4B0CA5C9}"/>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600253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61"/>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2138" fill="hold"/>
                                        <p:tgtEl>
                                          <p:spTgt spid="61"/>
                                        </p:tgtEl>
                                      </p:cBhvr>
                                    </p:cmd>
                                  </p:childTnLst>
                                </p:cTn>
                              </p:par>
                            </p:childTnLst>
                          </p:cTn>
                        </p:par>
                      </p:childTnLst>
                    </p:cTn>
                  </p:par>
                </p:childTnLst>
              </p:cTn>
              <p:nextCondLst>
                <p:cond evt="onClick" delay="0">
                  <p:tgtEl>
                    <p:spTgt spid="61"/>
                  </p:tgtEl>
                </p:cond>
              </p:nextCondLst>
            </p:seq>
            <p:seq concurrent="1" nextAc="seek">
              <p:cTn id="7" restart="whenNotActive" fill="hold" evtFilter="cancelBubble" nodeType="interactiveSeq">
                <p:stCondLst>
                  <p:cond evt="onClick" delay="0">
                    <p:tgtEl>
                      <p:spTgt spid="60"/>
                    </p:tgtEl>
                  </p:cond>
                </p:stCondLst>
                <p:endSync evt="end" delay="0">
                  <p:rtn val="all"/>
                </p:endSync>
                <p:childTnLst>
                  <p:par>
                    <p:cTn id="8" fill="hold">
                      <p:stCondLst>
                        <p:cond delay="0"/>
                      </p:stCondLst>
                      <p:childTnLst>
                        <p:par>
                          <p:cTn id="9" fill="hold">
                            <p:stCondLst>
                              <p:cond delay="0"/>
                            </p:stCondLst>
                            <p:childTnLst>
                              <p:par>
                                <p:cTn id="10" presetID="1" presetClass="mediacall" presetSubtype="0" fill="hold" nodeType="clickEffect">
                                  <p:stCondLst>
                                    <p:cond delay="0"/>
                                  </p:stCondLst>
                                  <p:childTnLst>
                                    <p:cmd type="call" cmd="playFrom(0.0)">
                                      <p:cBhvr>
                                        <p:cTn id="11" dur="12689" fill="hold"/>
                                        <p:tgtEl>
                                          <p:spTgt spid="60"/>
                                        </p:tgtEl>
                                      </p:cBhvr>
                                    </p:cmd>
                                  </p:childTnLst>
                                </p:cTn>
                              </p:par>
                            </p:childTnLst>
                          </p:cTn>
                        </p:par>
                      </p:childTnLst>
                    </p:cTn>
                  </p:par>
                </p:childTnLst>
              </p:cTn>
              <p:nextCondLst>
                <p:cond evt="onClick" delay="0">
                  <p:tgtEl>
                    <p:spTgt spid="60"/>
                  </p:tgtEl>
                </p:cond>
              </p:nextCondLst>
            </p:seq>
            <p:audio>
              <p:cMediaNode vol="80000">
                <p:cTn id="12" fill="hold" display="0">
                  <p:stCondLst>
                    <p:cond delay="indefinite"/>
                  </p:stCondLst>
                  <p:endCondLst>
                    <p:cond evt="onStopAudio" delay="0">
                      <p:tgtEl>
                        <p:sldTgt/>
                      </p:tgtEl>
                    </p:cond>
                  </p:endCondLst>
                </p:cTn>
                <p:tgtEl>
                  <p:spTgt spid="61"/>
                </p:tgtEl>
              </p:cMediaNode>
            </p:audio>
            <p:audio>
              <p:cMediaNode vol="80000">
                <p:cTn id="13" fill="hold" display="0">
                  <p:stCondLst>
                    <p:cond delay="indefinite"/>
                  </p:stCondLst>
                  <p:endCondLst>
                    <p:cond evt="onStopAudio" delay="0">
                      <p:tgtEl>
                        <p:sldTgt/>
                      </p:tgtEl>
                    </p:cond>
                  </p:endCondLst>
                </p:cTn>
                <p:tgtEl>
                  <p:spTgt spid="60"/>
                </p:tgtEl>
              </p:cMediaNode>
            </p:audio>
            <p:seq concurrent="1" nextAc="seek">
              <p:cTn id="14" restart="whenNotActive" fill="hold" evtFilter="cancelBubble" nodeType="interactiveSeq">
                <p:stCondLst>
                  <p:cond evt="onClick" delay="0">
                    <p:tgtEl>
                      <p:spTgt spid="2075"/>
                    </p:tgtEl>
                  </p:cond>
                </p:stCondLst>
                <p:endSync evt="end" delay="0">
                  <p:rtn val="all"/>
                </p:endSync>
                <p:childTnLst>
                  <p:par>
                    <p:cTn id="15" fill="hold">
                      <p:stCondLst>
                        <p:cond delay="0"/>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13576" fill="hold"/>
                                        <p:tgtEl>
                                          <p:spTgt spid="2075"/>
                                        </p:tgtEl>
                                      </p:cBhvr>
                                    </p:cmd>
                                  </p:childTnLst>
                                </p:cTn>
                              </p:par>
                            </p:childTnLst>
                          </p:cTn>
                        </p:par>
                      </p:childTnLst>
                    </p:cTn>
                  </p:par>
                </p:childTnLst>
              </p:cTn>
              <p:nextCondLst>
                <p:cond evt="onClick" delay="0">
                  <p:tgtEl>
                    <p:spTgt spid="2075"/>
                  </p:tgtEl>
                </p:cond>
              </p:nextCondLst>
            </p:seq>
            <p:seq concurrent="1" nextAc="seek">
              <p:cTn id="19" restart="whenNotActive" fill="hold" evtFilter="cancelBubble" nodeType="interactiveSeq">
                <p:stCondLst>
                  <p:cond evt="onClick" delay="0">
                    <p:tgtEl>
                      <p:spTgt spid="2076"/>
                    </p:tgtEl>
                  </p:cond>
                </p:stCondLst>
                <p:endSync evt="end" delay="0">
                  <p:rtn val="all"/>
                </p:endSync>
                <p:childTnLst>
                  <p:par>
                    <p:cTn id="20" fill="hold">
                      <p:stCondLst>
                        <p:cond delay="0"/>
                      </p:stCondLst>
                      <p:childTnLst>
                        <p:par>
                          <p:cTn id="21" fill="hold">
                            <p:stCondLst>
                              <p:cond delay="0"/>
                            </p:stCondLst>
                            <p:childTnLst>
                              <p:par>
                                <p:cTn id="22" presetID="1" presetClass="mediacall" presetSubtype="0" fill="hold" nodeType="clickEffect">
                                  <p:stCondLst>
                                    <p:cond delay="0"/>
                                  </p:stCondLst>
                                  <p:childTnLst>
                                    <p:cmd type="call" cmd="playFrom(0.0)">
                                      <p:cBhvr>
                                        <p:cTn id="23" dur="26088" fill="hold"/>
                                        <p:tgtEl>
                                          <p:spTgt spid="2076"/>
                                        </p:tgtEl>
                                      </p:cBhvr>
                                    </p:cmd>
                                  </p:childTnLst>
                                </p:cTn>
                              </p:par>
                            </p:childTnLst>
                          </p:cTn>
                        </p:par>
                      </p:childTnLst>
                    </p:cTn>
                  </p:par>
                </p:childTnLst>
              </p:cTn>
              <p:nextCondLst>
                <p:cond evt="onClick" delay="0">
                  <p:tgtEl>
                    <p:spTgt spid="2076"/>
                  </p:tgtEl>
                </p:cond>
              </p:nextCondLst>
            </p:seq>
            <p:audio>
              <p:cMediaNode vol="80000">
                <p:cTn id="24" fill="hold" display="0">
                  <p:stCondLst>
                    <p:cond delay="indefinite"/>
                  </p:stCondLst>
                  <p:endCondLst>
                    <p:cond evt="onStopAudio" delay="0">
                      <p:tgtEl>
                        <p:sldTgt/>
                      </p:tgtEl>
                    </p:cond>
                  </p:endCondLst>
                </p:cTn>
                <p:tgtEl>
                  <p:spTgt spid="2075"/>
                </p:tgtEl>
              </p:cMediaNode>
            </p:audio>
            <p:audio>
              <p:cMediaNode vol="80000">
                <p:cTn id="25" fill="hold" display="0">
                  <p:stCondLst>
                    <p:cond delay="indefinite"/>
                  </p:stCondLst>
                  <p:endCondLst>
                    <p:cond evt="onStopAudio" delay="0">
                      <p:tgtEl>
                        <p:sldTgt/>
                      </p:tgtEl>
                    </p:cond>
                  </p:endCondLst>
                </p:cTn>
                <p:tgtEl>
                  <p:spTgt spid="2076"/>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A284D-FFF1-23AC-1BE3-49FA075B85FC}"/>
            </a:ext>
          </a:extLst>
        </p:cNvPr>
        <p:cNvGrpSpPr/>
        <p:nvPr/>
      </p:nvGrpSpPr>
      <p:grpSpPr>
        <a:xfrm>
          <a:off x="0" y="0"/>
          <a:ext cx="0" cy="0"/>
          <a:chOff x="0" y="0"/>
          <a:chExt cx="0" cy="0"/>
        </a:xfrm>
      </p:grpSpPr>
      <p:grpSp>
        <p:nvGrpSpPr>
          <p:cNvPr id="21" name="Grupo 20">
            <a:extLst>
              <a:ext uri="{FF2B5EF4-FFF2-40B4-BE49-F238E27FC236}">
                <a16:creationId xmlns:a16="http://schemas.microsoft.com/office/drawing/2014/main" id="{1508DB71-02B4-C576-2795-7C7DBAA01DC2}"/>
              </a:ext>
            </a:extLst>
          </p:cNvPr>
          <p:cNvGrpSpPr/>
          <p:nvPr/>
        </p:nvGrpSpPr>
        <p:grpSpPr>
          <a:xfrm>
            <a:off x="864264" y="1957677"/>
            <a:ext cx="2455201" cy="2361601"/>
            <a:chOff x="3641390" y="1487624"/>
            <a:chExt cx="4909220" cy="4728120"/>
          </a:xfrm>
        </p:grpSpPr>
        <p:sp>
          <p:nvSpPr>
            <p:cNvPr id="22" name="Freeform: Shape 18">
              <a:extLst>
                <a:ext uri="{FF2B5EF4-FFF2-40B4-BE49-F238E27FC236}">
                  <a16:creationId xmlns:a16="http://schemas.microsoft.com/office/drawing/2014/main" id="{363BD4B7-D269-4093-8B17-69CCBF4F4E42}"/>
                </a:ext>
              </a:extLst>
            </p:cNvPr>
            <p:cNvSpPr/>
            <p:nvPr/>
          </p:nvSpPr>
          <p:spPr>
            <a:xfrm>
              <a:off x="5279737" y="3163639"/>
              <a:ext cx="1632527" cy="1596799"/>
            </a:xfrm>
            <a:custGeom>
              <a:avLst/>
              <a:gdLst>
                <a:gd name="connsiteX0" fmla="*/ 816263 w 1632527"/>
                <a:gd name="connsiteY0" fmla="*/ 0 h 1596799"/>
                <a:gd name="connsiteX1" fmla="*/ 912991 w 1632527"/>
                <a:gd name="connsiteY1" fmla="*/ 58764 h 1596799"/>
                <a:gd name="connsiteX2" fmla="*/ 1626018 w 1632527"/>
                <a:gd name="connsiteY2" fmla="*/ 1248385 h 1596799"/>
                <a:gd name="connsiteX3" fmla="*/ 1632527 w 1632527"/>
                <a:gd name="connsiteY3" fmla="*/ 1377270 h 1596799"/>
                <a:gd name="connsiteX4" fmla="*/ 1596273 w 1632527"/>
                <a:gd name="connsiteY4" fmla="*/ 1399294 h 1596799"/>
                <a:gd name="connsiteX5" fmla="*/ 816264 w 1632527"/>
                <a:gd name="connsiteY5" fmla="*/ 1596799 h 1596799"/>
                <a:gd name="connsiteX6" fmla="*/ 36255 w 1632527"/>
                <a:gd name="connsiteY6" fmla="*/ 1399294 h 1596799"/>
                <a:gd name="connsiteX7" fmla="*/ 0 w 1632527"/>
                <a:gd name="connsiteY7" fmla="*/ 1377268 h 1596799"/>
                <a:gd name="connsiteX8" fmla="*/ 6508 w 1632527"/>
                <a:gd name="connsiteY8" fmla="*/ 1248385 h 1596799"/>
                <a:gd name="connsiteX9" fmla="*/ 719535 w 1632527"/>
                <a:gd name="connsiteY9" fmla="*/ 58764 h 1596799"/>
                <a:gd name="connsiteX10" fmla="*/ 816263 w 1632527"/>
                <a:gd name="connsiteY10" fmla="*/ 0 h 159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527" h="1596799">
                  <a:moveTo>
                    <a:pt x="816263" y="0"/>
                  </a:moveTo>
                  <a:lnTo>
                    <a:pt x="912991" y="58764"/>
                  </a:lnTo>
                  <a:cubicBezTo>
                    <a:pt x="1304749" y="323430"/>
                    <a:pt x="1575738" y="753284"/>
                    <a:pt x="1626018" y="1248385"/>
                  </a:cubicBezTo>
                  <a:lnTo>
                    <a:pt x="1632527" y="1377270"/>
                  </a:lnTo>
                  <a:lnTo>
                    <a:pt x="1596273" y="1399294"/>
                  </a:lnTo>
                  <a:cubicBezTo>
                    <a:pt x="1364405" y="1525252"/>
                    <a:pt x="1098690" y="1596799"/>
                    <a:pt x="816264" y="1596799"/>
                  </a:cubicBezTo>
                  <a:cubicBezTo>
                    <a:pt x="533838" y="1596799"/>
                    <a:pt x="268123" y="1525252"/>
                    <a:pt x="36255" y="1399294"/>
                  </a:cubicBezTo>
                  <a:lnTo>
                    <a:pt x="0" y="1377268"/>
                  </a:lnTo>
                  <a:lnTo>
                    <a:pt x="6508" y="1248385"/>
                  </a:lnTo>
                  <a:cubicBezTo>
                    <a:pt x="56788" y="753284"/>
                    <a:pt x="327777" y="323430"/>
                    <a:pt x="719535" y="58764"/>
                  </a:cubicBezTo>
                  <a:lnTo>
                    <a:pt x="816263" y="0"/>
                  </a:lnTo>
                  <a:close/>
                </a:path>
              </a:pathLst>
            </a:custGeom>
            <a:solidFill>
              <a:schemeClr val="bg1">
                <a:lumMod val="95000"/>
              </a:schemeClr>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3" name="Freeform: Shape 20">
              <a:extLst>
                <a:ext uri="{FF2B5EF4-FFF2-40B4-BE49-F238E27FC236}">
                  <a16:creationId xmlns:a16="http://schemas.microsoft.com/office/drawing/2014/main" id="{AA812A5D-C552-4B00-A110-B48F6C33DB77}"/>
                </a:ext>
              </a:extLst>
            </p:cNvPr>
            <p:cNvSpPr/>
            <p:nvPr/>
          </p:nvSpPr>
          <p:spPr>
            <a:xfrm>
              <a:off x="4459593" y="1487624"/>
              <a:ext cx="3272814" cy="1676015"/>
            </a:xfrm>
            <a:custGeom>
              <a:avLst/>
              <a:gdLst>
                <a:gd name="connsiteX0" fmla="*/ 1636407 w 3272814"/>
                <a:gd name="connsiteY0" fmla="*/ 0 h 1676015"/>
                <a:gd name="connsiteX1" fmla="*/ 3272814 w 3272814"/>
                <a:gd name="connsiteY1" fmla="*/ 1636407 h 1676015"/>
                <a:gd name="connsiteX2" fmla="*/ 3270874 w 3272814"/>
                <a:gd name="connsiteY2" fmla="*/ 1674837 h 1676015"/>
                <a:gd name="connsiteX3" fmla="*/ 3234618 w 3272814"/>
                <a:gd name="connsiteY3" fmla="*/ 1652811 h 1676015"/>
                <a:gd name="connsiteX4" fmla="*/ 2454609 w 3272814"/>
                <a:gd name="connsiteY4" fmla="*/ 1455306 h 1676015"/>
                <a:gd name="connsiteX5" fmla="*/ 1674600 w 3272814"/>
                <a:gd name="connsiteY5" fmla="*/ 1652811 h 1676015"/>
                <a:gd name="connsiteX6" fmla="*/ 1636406 w 3272814"/>
                <a:gd name="connsiteY6" fmla="*/ 1676015 h 1676015"/>
                <a:gd name="connsiteX7" fmla="*/ 1598212 w 3272814"/>
                <a:gd name="connsiteY7" fmla="*/ 1652811 h 1676015"/>
                <a:gd name="connsiteX8" fmla="*/ 818203 w 3272814"/>
                <a:gd name="connsiteY8" fmla="*/ 1455306 h 1676015"/>
                <a:gd name="connsiteX9" fmla="*/ 38194 w 3272814"/>
                <a:gd name="connsiteY9" fmla="*/ 1652811 h 1676015"/>
                <a:gd name="connsiteX10" fmla="*/ 1940 w 3272814"/>
                <a:gd name="connsiteY10" fmla="*/ 1674836 h 1676015"/>
                <a:gd name="connsiteX11" fmla="*/ 0 w 3272814"/>
                <a:gd name="connsiteY11" fmla="*/ 1636407 h 1676015"/>
                <a:gd name="connsiteX12" fmla="*/ 1636407 w 3272814"/>
                <a:gd name="connsiteY12" fmla="*/ 0 h 167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2814" h="1676015">
                  <a:moveTo>
                    <a:pt x="1636407" y="0"/>
                  </a:moveTo>
                  <a:cubicBezTo>
                    <a:pt x="2540170" y="0"/>
                    <a:pt x="3272814" y="732644"/>
                    <a:pt x="3272814" y="1636407"/>
                  </a:cubicBezTo>
                  <a:lnTo>
                    <a:pt x="3270874" y="1674837"/>
                  </a:lnTo>
                  <a:lnTo>
                    <a:pt x="3234618" y="1652811"/>
                  </a:lnTo>
                  <a:cubicBezTo>
                    <a:pt x="3002750" y="1526853"/>
                    <a:pt x="2737035" y="1455306"/>
                    <a:pt x="2454609" y="1455306"/>
                  </a:cubicBezTo>
                  <a:cubicBezTo>
                    <a:pt x="2172183" y="1455306"/>
                    <a:pt x="1906468" y="1526853"/>
                    <a:pt x="1674600" y="1652811"/>
                  </a:cubicBezTo>
                  <a:lnTo>
                    <a:pt x="1636406" y="1676015"/>
                  </a:lnTo>
                  <a:lnTo>
                    <a:pt x="1598212" y="1652811"/>
                  </a:lnTo>
                  <a:cubicBezTo>
                    <a:pt x="1366344" y="1526853"/>
                    <a:pt x="1100629" y="1455306"/>
                    <a:pt x="818203" y="1455306"/>
                  </a:cubicBezTo>
                  <a:cubicBezTo>
                    <a:pt x="535777" y="1455306"/>
                    <a:pt x="270062" y="1526853"/>
                    <a:pt x="38194" y="1652811"/>
                  </a:cubicBezTo>
                  <a:lnTo>
                    <a:pt x="1940" y="1674836"/>
                  </a:lnTo>
                  <a:lnTo>
                    <a:pt x="0" y="1636407"/>
                  </a:lnTo>
                  <a:cubicBezTo>
                    <a:pt x="0" y="732644"/>
                    <a:pt x="732644" y="0"/>
                    <a:pt x="1636407" y="0"/>
                  </a:cubicBezTo>
                  <a:close/>
                </a:path>
              </a:pathLst>
            </a:custGeom>
            <a:solidFill>
              <a:schemeClr val="accent1"/>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latin typeface="webapp1_icons_cc" panose="02000503000000000000" pitchFamily="2" charset="0"/>
              </a:endParaRPr>
            </a:p>
          </p:txBody>
        </p:sp>
        <p:sp>
          <p:nvSpPr>
            <p:cNvPr id="24" name="Freeform: Shape 23">
              <a:extLst>
                <a:ext uri="{FF2B5EF4-FFF2-40B4-BE49-F238E27FC236}">
                  <a16:creationId xmlns:a16="http://schemas.microsoft.com/office/drawing/2014/main" id="{CBA5E238-AD6E-4621-9E6E-7C5AF6BE498B}"/>
                </a:ext>
              </a:extLst>
            </p:cNvPr>
            <p:cNvSpPr/>
            <p:nvPr/>
          </p:nvSpPr>
          <p:spPr>
            <a:xfrm>
              <a:off x="3641390" y="3162460"/>
              <a:ext cx="2454610" cy="3053284"/>
            </a:xfrm>
            <a:custGeom>
              <a:avLst/>
              <a:gdLst>
                <a:gd name="connsiteX0" fmla="*/ 820144 w 2454610"/>
                <a:gd name="connsiteY0" fmla="*/ 0 h 3053284"/>
                <a:gd name="connsiteX1" fmla="*/ 826653 w 2454610"/>
                <a:gd name="connsiteY1" fmla="*/ 128884 h 3053284"/>
                <a:gd name="connsiteX2" fmla="*/ 1539680 w 2454610"/>
                <a:gd name="connsiteY2" fmla="*/ 1318505 h 3053284"/>
                <a:gd name="connsiteX3" fmla="*/ 1638347 w 2454610"/>
                <a:gd name="connsiteY3" fmla="*/ 1378447 h 3053284"/>
                <a:gd name="connsiteX4" fmla="*/ 1636406 w 2454610"/>
                <a:gd name="connsiteY4" fmla="*/ 1416877 h 3053284"/>
                <a:gd name="connsiteX5" fmla="*/ 2357882 w 2454610"/>
                <a:gd name="connsiteY5" fmla="*/ 2773811 h 3053284"/>
                <a:gd name="connsiteX6" fmla="*/ 2454610 w 2454610"/>
                <a:gd name="connsiteY6" fmla="*/ 2832576 h 3053284"/>
                <a:gd name="connsiteX7" fmla="*/ 2416416 w 2454610"/>
                <a:gd name="connsiteY7" fmla="*/ 2855779 h 3053284"/>
                <a:gd name="connsiteX8" fmla="*/ 1636407 w 2454610"/>
                <a:gd name="connsiteY8" fmla="*/ 3053284 h 3053284"/>
                <a:gd name="connsiteX9" fmla="*/ 0 w 2454610"/>
                <a:gd name="connsiteY9" fmla="*/ 1416877 h 3053284"/>
                <a:gd name="connsiteX10" fmla="*/ 721476 w 2454610"/>
                <a:gd name="connsiteY10" fmla="*/ 59943 h 3053284"/>
                <a:gd name="connsiteX11" fmla="*/ 820144 w 2454610"/>
                <a:gd name="connsiteY11" fmla="*/ 0 h 3053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54610" h="3053284">
                  <a:moveTo>
                    <a:pt x="820144" y="0"/>
                  </a:moveTo>
                  <a:lnTo>
                    <a:pt x="826653" y="128884"/>
                  </a:lnTo>
                  <a:cubicBezTo>
                    <a:pt x="876933" y="623985"/>
                    <a:pt x="1147922" y="1053839"/>
                    <a:pt x="1539680" y="1318505"/>
                  </a:cubicBezTo>
                  <a:lnTo>
                    <a:pt x="1638347" y="1378447"/>
                  </a:lnTo>
                  <a:lnTo>
                    <a:pt x="1636406" y="1416877"/>
                  </a:lnTo>
                  <a:cubicBezTo>
                    <a:pt x="1636406" y="1981729"/>
                    <a:pt x="1922595" y="2479738"/>
                    <a:pt x="2357882" y="2773811"/>
                  </a:cubicBezTo>
                  <a:lnTo>
                    <a:pt x="2454610" y="2832576"/>
                  </a:lnTo>
                  <a:lnTo>
                    <a:pt x="2416416" y="2855779"/>
                  </a:lnTo>
                  <a:cubicBezTo>
                    <a:pt x="2184548" y="2981737"/>
                    <a:pt x="1918833" y="3053284"/>
                    <a:pt x="1636407" y="3053284"/>
                  </a:cubicBezTo>
                  <a:cubicBezTo>
                    <a:pt x="732644" y="3053284"/>
                    <a:pt x="0" y="2320640"/>
                    <a:pt x="0" y="1416877"/>
                  </a:cubicBezTo>
                  <a:cubicBezTo>
                    <a:pt x="0" y="852025"/>
                    <a:pt x="286189" y="354017"/>
                    <a:pt x="721476" y="59943"/>
                  </a:cubicBezTo>
                  <a:lnTo>
                    <a:pt x="820144" y="0"/>
                  </a:lnTo>
                  <a:close/>
                </a:path>
              </a:pathLst>
            </a:custGeom>
            <a:solidFill>
              <a:schemeClr val="accent3"/>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latin typeface="webapp1_icons_cc" panose="02000503000000000000" pitchFamily="2" charset="0"/>
              </a:endParaRPr>
            </a:p>
          </p:txBody>
        </p:sp>
        <p:sp>
          <p:nvSpPr>
            <p:cNvPr id="27" name="Freeform: Shape 26">
              <a:extLst>
                <a:ext uri="{FF2B5EF4-FFF2-40B4-BE49-F238E27FC236}">
                  <a16:creationId xmlns:a16="http://schemas.microsoft.com/office/drawing/2014/main" id="{C13E6E69-13D2-4D7A-8878-1ED6560DC8E4}"/>
                </a:ext>
              </a:extLst>
            </p:cNvPr>
            <p:cNvSpPr/>
            <p:nvPr/>
          </p:nvSpPr>
          <p:spPr>
            <a:xfrm>
              <a:off x="6096000" y="3162461"/>
              <a:ext cx="2454610" cy="3053283"/>
            </a:xfrm>
            <a:custGeom>
              <a:avLst/>
              <a:gdLst>
                <a:gd name="connsiteX0" fmla="*/ 1634468 w 2454610"/>
                <a:gd name="connsiteY0" fmla="*/ 0 h 3053283"/>
                <a:gd name="connsiteX1" fmla="*/ 1733134 w 2454610"/>
                <a:gd name="connsiteY1" fmla="*/ 59942 h 3053283"/>
                <a:gd name="connsiteX2" fmla="*/ 2454610 w 2454610"/>
                <a:gd name="connsiteY2" fmla="*/ 1416876 h 3053283"/>
                <a:gd name="connsiteX3" fmla="*/ 818203 w 2454610"/>
                <a:gd name="connsiteY3" fmla="*/ 3053283 h 3053283"/>
                <a:gd name="connsiteX4" fmla="*/ 38194 w 2454610"/>
                <a:gd name="connsiteY4" fmla="*/ 2855778 h 3053283"/>
                <a:gd name="connsiteX5" fmla="*/ 0 w 2454610"/>
                <a:gd name="connsiteY5" fmla="*/ 2832575 h 3053283"/>
                <a:gd name="connsiteX6" fmla="*/ 96728 w 2454610"/>
                <a:gd name="connsiteY6" fmla="*/ 2773810 h 3053283"/>
                <a:gd name="connsiteX7" fmla="*/ 818204 w 2454610"/>
                <a:gd name="connsiteY7" fmla="*/ 1416876 h 3053283"/>
                <a:gd name="connsiteX8" fmla="*/ 816264 w 2454610"/>
                <a:gd name="connsiteY8" fmla="*/ 1378448 h 3053283"/>
                <a:gd name="connsiteX9" fmla="*/ 914932 w 2454610"/>
                <a:gd name="connsiteY9" fmla="*/ 1318504 h 3053283"/>
                <a:gd name="connsiteX10" fmla="*/ 1627959 w 2454610"/>
                <a:gd name="connsiteY10" fmla="*/ 128883 h 3053283"/>
                <a:gd name="connsiteX11" fmla="*/ 1634468 w 2454610"/>
                <a:gd name="connsiteY11" fmla="*/ 0 h 305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54610" h="3053283">
                  <a:moveTo>
                    <a:pt x="1634468" y="0"/>
                  </a:moveTo>
                  <a:lnTo>
                    <a:pt x="1733134" y="59942"/>
                  </a:lnTo>
                  <a:cubicBezTo>
                    <a:pt x="2168421" y="354016"/>
                    <a:pt x="2454610" y="852024"/>
                    <a:pt x="2454610" y="1416876"/>
                  </a:cubicBezTo>
                  <a:cubicBezTo>
                    <a:pt x="2454610" y="2320639"/>
                    <a:pt x="1721966" y="3053283"/>
                    <a:pt x="818203" y="3053283"/>
                  </a:cubicBezTo>
                  <a:cubicBezTo>
                    <a:pt x="535777" y="3053283"/>
                    <a:pt x="270062" y="2981736"/>
                    <a:pt x="38194" y="2855778"/>
                  </a:cubicBezTo>
                  <a:lnTo>
                    <a:pt x="0" y="2832575"/>
                  </a:lnTo>
                  <a:lnTo>
                    <a:pt x="96728" y="2773810"/>
                  </a:lnTo>
                  <a:cubicBezTo>
                    <a:pt x="532015" y="2479737"/>
                    <a:pt x="818204" y="1981728"/>
                    <a:pt x="818204" y="1416876"/>
                  </a:cubicBezTo>
                  <a:lnTo>
                    <a:pt x="816264" y="1378448"/>
                  </a:lnTo>
                  <a:lnTo>
                    <a:pt x="914932" y="1318504"/>
                  </a:lnTo>
                  <a:cubicBezTo>
                    <a:pt x="1306690" y="1053838"/>
                    <a:pt x="1577679" y="623984"/>
                    <a:pt x="1627959" y="128883"/>
                  </a:cubicBezTo>
                  <a:lnTo>
                    <a:pt x="1634468" y="0"/>
                  </a:lnTo>
                  <a:close/>
                </a:path>
              </a:pathLst>
            </a:custGeom>
            <a:solidFill>
              <a:schemeClr val="accent2"/>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0" name="Freeform: Shape 29">
              <a:extLst>
                <a:ext uri="{FF2B5EF4-FFF2-40B4-BE49-F238E27FC236}">
                  <a16:creationId xmlns:a16="http://schemas.microsoft.com/office/drawing/2014/main" id="{45983949-F6F9-4F98-A274-15E736B0F36F}"/>
                </a:ext>
              </a:extLst>
            </p:cNvPr>
            <p:cNvSpPr/>
            <p:nvPr/>
          </p:nvSpPr>
          <p:spPr>
            <a:xfrm>
              <a:off x="4461534" y="2942930"/>
              <a:ext cx="1634466" cy="1597977"/>
            </a:xfrm>
            <a:custGeom>
              <a:avLst/>
              <a:gdLst>
                <a:gd name="connsiteX0" fmla="*/ 816263 w 1634466"/>
                <a:gd name="connsiteY0" fmla="*/ 0 h 1597977"/>
                <a:gd name="connsiteX1" fmla="*/ 1596272 w 1634466"/>
                <a:gd name="connsiteY1" fmla="*/ 197505 h 1597977"/>
                <a:gd name="connsiteX2" fmla="*/ 1634466 w 1634466"/>
                <a:gd name="connsiteY2" fmla="*/ 220709 h 1597977"/>
                <a:gd name="connsiteX3" fmla="*/ 1537738 w 1634466"/>
                <a:gd name="connsiteY3" fmla="*/ 279473 h 1597977"/>
                <a:gd name="connsiteX4" fmla="*/ 824711 w 1634466"/>
                <a:gd name="connsiteY4" fmla="*/ 1469094 h 1597977"/>
                <a:gd name="connsiteX5" fmla="*/ 818203 w 1634466"/>
                <a:gd name="connsiteY5" fmla="*/ 1597977 h 1597977"/>
                <a:gd name="connsiteX6" fmla="*/ 719536 w 1634466"/>
                <a:gd name="connsiteY6" fmla="*/ 1538035 h 1597977"/>
                <a:gd name="connsiteX7" fmla="*/ 6509 w 1634466"/>
                <a:gd name="connsiteY7" fmla="*/ 348414 h 1597977"/>
                <a:gd name="connsiteX8" fmla="*/ 0 w 1634466"/>
                <a:gd name="connsiteY8" fmla="*/ 219530 h 1597977"/>
                <a:gd name="connsiteX9" fmla="*/ 36254 w 1634466"/>
                <a:gd name="connsiteY9" fmla="*/ 197505 h 1597977"/>
                <a:gd name="connsiteX10" fmla="*/ 816263 w 1634466"/>
                <a:gd name="connsiteY10" fmla="*/ 0 h 1597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4466" h="1597977">
                  <a:moveTo>
                    <a:pt x="816263" y="0"/>
                  </a:moveTo>
                  <a:cubicBezTo>
                    <a:pt x="1098689" y="0"/>
                    <a:pt x="1364404" y="71547"/>
                    <a:pt x="1596272" y="197505"/>
                  </a:cubicBezTo>
                  <a:lnTo>
                    <a:pt x="1634466" y="220709"/>
                  </a:lnTo>
                  <a:lnTo>
                    <a:pt x="1537738" y="279473"/>
                  </a:lnTo>
                  <a:cubicBezTo>
                    <a:pt x="1145980" y="544139"/>
                    <a:pt x="874991" y="973993"/>
                    <a:pt x="824711" y="1469094"/>
                  </a:cubicBezTo>
                  <a:lnTo>
                    <a:pt x="818203" y="1597977"/>
                  </a:lnTo>
                  <a:lnTo>
                    <a:pt x="719536" y="1538035"/>
                  </a:lnTo>
                  <a:cubicBezTo>
                    <a:pt x="327778" y="1273369"/>
                    <a:pt x="56789" y="843515"/>
                    <a:pt x="6509" y="348414"/>
                  </a:cubicBezTo>
                  <a:lnTo>
                    <a:pt x="0" y="219530"/>
                  </a:lnTo>
                  <a:lnTo>
                    <a:pt x="36254" y="197505"/>
                  </a:lnTo>
                  <a:cubicBezTo>
                    <a:pt x="268122" y="71547"/>
                    <a:pt x="533837" y="0"/>
                    <a:pt x="816263" y="0"/>
                  </a:cubicBezTo>
                  <a:close/>
                </a:path>
              </a:pathLst>
            </a:custGeom>
            <a:gradFill>
              <a:gsLst>
                <a:gs pos="100000">
                  <a:schemeClr val="accent3"/>
                </a:gs>
                <a:gs pos="0">
                  <a:schemeClr val="accent1"/>
                </a:gs>
              </a:gsLst>
              <a:lin ang="5400000" scaled="1"/>
            </a:gradFill>
            <a:ln w="1270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3" name="Freeform: Shape 32">
              <a:extLst>
                <a:ext uri="{FF2B5EF4-FFF2-40B4-BE49-F238E27FC236}">
                  <a16:creationId xmlns:a16="http://schemas.microsoft.com/office/drawing/2014/main" id="{C9D67FBC-3435-4499-BD39-AFA30E430929}"/>
                </a:ext>
              </a:extLst>
            </p:cNvPr>
            <p:cNvSpPr/>
            <p:nvPr/>
          </p:nvSpPr>
          <p:spPr>
            <a:xfrm>
              <a:off x="6096000" y="2942930"/>
              <a:ext cx="1634468" cy="1597979"/>
            </a:xfrm>
            <a:custGeom>
              <a:avLst/>
              <a:gdLst>
                <a:gd name="connsiteX0" fmla="*/ 818203 w 1634468"/>
                <a:gd name="connsiteY0" fmla="*/ 0 h 1597979"/>
                <a:gd name="connsiteX1" fmla="*/ 1598212 w 1634468"/>
                <a:gd name="connsiteY1" fmla="*/ 197505 h 1597979"/>
                <a:gd name="connsiteX2" fmla="*/ 1634468 w 1634468"/>
                <a:gd name="connsiteY2" fmla="*/ 219531 h 1597979"/>
                <a:gd name="connsiteX3" fmla="*/ 1627959 w 1634468"/>
                <a:gd name="connsiteY3" fmla="*/ 348414 h 1597979"/>
                <a:gd name="connsiteX4" fmla="*/ 914932 w 1634468"/>
                <a:gd name="connsiteY4" fmla="*/ 1538035 h 1597979"/>
                <a:gd name="connsiteX5" fmla="*/ 816264 w 1634468"/>
                <a:gd name="connsiteY5" fmla="*/ 1597979 h 1597979"/>
                <a:gd name="connsiteX6" fmla="*/ 809755 w 1634468"/>
                <a:gd name="connsiteY6" fmla="*/ 1469094 h 1597979"/>
                <a:gd name="connsiteX7" fmla="*/ 96728 w 1634468"/>
                <a:gd name="connsiteY7" fmla="*/ 279473 h 1597979"/>
                <a:gd name="connsiteX8" fmla="*/ 0 w 1634468"/>
                <a:gd name="connsiteY8" fmla="*/ 220709 h 1597979"/>
                <a:gd name="connsiteX9" fmla="*/ 38194 w 1634468"/>
                <a:gd name="connsiteY9" fmla="*/ 197505 h 1597979"/>
                <a:gd name="connsiteX10" fmla="*/ 818203 w 1634468"/>
                <a:gd name="connsiteY10" fmla="*/ 0 h 159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4468" h="1597979">
                  <a:moveTo>
                    <a:pt x="818203" y="0"/>
                  </a:moveTo>
                  <a:cubicBezTo>
                    <a:pt x="1100629" y="0"/>
                    <a:pt x="1366344" y="71547"/>
                    <a:pt x="1598212" y="197505"/>
                  </a:cubicBezTo>
                  <a:lnTo>
                    <a:pt x="1634468" y="219531"/>
                  </a:lnTo>
                  <a:lnTo>
                    <a:pt x="1627959" y="348414"/>
                  </a:lnTo>
                  <a:cubicBezTo>
                    <a:pt x="1577679" y="843515"/>
                    <a:pt x="1306690" y="1273369"/>
                    <a:pt x="914932" y="1538035"/>
                  </a:cubicBezTo>
                  <a:lnTo>
                    <a:pt x="816264" y="1597979"/>
                  </a:lnTo>
                  <a:lnTo>
                    <a:pt x="809755" y="1469094"/>
                  </a:lnTo>
                  <a:cubicBezTo>
                    <a:pt x="759475" y="973993"/>
                    <a:pt x="488486" y="544139"/>
                    <a:pt x="96728" y="279473"/>
                  </a:cubicBezTo>
                  <a:lnTo>
                    <a:pt x="0" y="220709"/>
                  </a:lnTo>
                  <a:lnTo>
                    <a:pt x="38194" y="197505"/>
                  </a:lnTo>
                  <a:cubicBezTo>
                    <a:pt x="270062" y="71547"/>
                    <a:pt x="535777" y="0"/>
                    <a:pt x="818203" y="0"/>
                  </a:cubicBezTo>
                  <a:close/>
                </a:path>
              </a:pathLst>
            </a:custGeom>
            <a:gradFill>
              <a:gsLst>
                <a:gs pos="100000">
                  <a:schemeClr val="accent2"/>
                </a:gs>
                <a:gs pos="0">
                  <a:schemeClr val="accent1"/>
                </a:gs>
              </a:gsLst>
              <a:lin ang="5400000" scaled="1"/>
            </a:gradFill>
            <a:ln w="1270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6" name="Freeform: Shape 35">
              <a:extLst>
                <a:ext uri="{FF2B5EF4-FFF2-40B4-BE49-F238E27FC236}">
                  <a16:creationId xmlns:a16="http://schemas.microsoft.com/office/drawing/2014/main" id="{081FE37C-1342-4E8A-9644-8275EE9A9181}"/>
                </a:ext>
              </a:extLst>
            </p:cNvPr>
            <p:cNvSpPr/>
            <p:nvPr/>
          </p:nvSpPr>
          <p:spPr>
            <a:xfrm>
              <a:off x="5277796" y="4540907"/>
              <a:ext cx="1636408" cy="1454129"/>
            </a:xfrm>
            <a:custGeom>
              <a:avLst/>
              <a:gdLst>
                <a:gd name="connsiteX0" fmla="*/ 1941 w 1636408"/>
                <a:gd name="connsiteY0" fmla="*/ 0 h 1454129"/>
                <a:gd name="connsiteX1" fmla="*/ 38196 w 1636408"/>
                <a:gd name="connsiteY1" fmla="*/ 22026 h 1454129"/>
                <a:gd name="connsiteX2" fmla="*/ 818205 w 1636408"/>
                <a:gd name="connsiteY2" fmla="*/ 219531 h 1454129"/>
                <a:gd name="connsiteX3" fmla="*/ 1598214 w 1636408"/>
                <a:gd name="connsiteY3" fmla="*/ 22026 h 1454129"/>
                <a:gd name="connsiteX4" fmla="*/ 1634468 w 1636408"/>
                <a:gd name="connsiteY4" fmla="*/ 2 h 1454129"/>
                <a:gd name="connsiteX5" fmla="*/ 1636408 w 1636408"/>
                <a:gd name="connsiteY5" fmla="*/ 38430 h 1454129"/>
                <a:gd name="connsiteX6" fmla="*/ 914932 w 1636408"/>
                <a:gd name="connsiteY6" fmla="*/ 1395364 h 1454129"/>
                <a:gd name="connsiteX7" fmla="*/ 818204 w 1636408"/>
                <a:gd name="connsiteY7" fmla="*/ 1454129 h 1454129"/>
                <a:gd name="connsiteX8" fmla="*/ 721476 w 1636408"/>
                <a:gd name="connsiteY8" fmla="*/ 1395364 h 1454129"/>
                <a:gd name="connsiteX9" fmla="*/ 0 w 1636408"/>
                <a:gd name="connsiteY9" fmla="*/ 38430 h 1454129"/>
                <a:gd name="connsiteX10" fmla="*/ 1941 w 1636408"/>
                <a:gd name="connsiteY10" fmla="*/ 0 h 145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6408" h="1454129">
                  <a:moveTo>
                    <a:pt x="1941" y="0"/>
                  </a:moveTo>
                  <a:lnTo>
                    <a:pt x="38196" y="22026"/>
                  </a:lnTo>
                  <a:cubicBezTo>
                    <a:pt x="270064" y="147984"/>
                    <a:pt x="535779" y="219531"/>
                    <a:pt x="818205" y="219531"/>
                  </a:cubicBezTo>
                  <a:cubicBezTo>
                    <a:pt x="1100631" y="219531"/>
                    <a:pt x="1366346" y="147984"/>
                    <a:pt x="1598214" y="22026"/>
                  </a:cubicBezTo>
                  <a:lnTo>
                    <a:pt x="1634468" y="2"/>
                  </a:lnTo>
                  <a:lnTo>
                    <a:pt x="1636408" y="38430"/>
                  </a:lnTo>
                  <a:cubicBezTo>
                    <a:pt x="1636408" y="603282"/>
                    <a:pt x="1350219" y="1101291"/>
                    <a:pt x="914932" y="1395364"/>
                  </a:cubicBezTo>
                  <a:lnTo>
                    <a:pt x="818204" y="1454129"/>
                  </a:lnTo>
                  <a:lnTo>
                    <a:pt x="721476" y="1395364"/>
                  </a:lnTo>
                  <a:cubicBezTo>
                    <a:pt x="286189" y="1101291"/>
                    <a:pt x="0" y="603282"/>
                    <a:pt x="0" y="38430"/>
                  </a:cubicBezTo>
                  <a:lnTo>
                    <a:pt x="1941" y="0"/>
                  </a:lnTo>
                  <a:close/>
                </a:path>
              </a:pathLst>
            </a:custGeom>
            <a:gradFill flip="none" rotWithShape="1">
              <a:gsLst>
                <a:gs pos="100000">
                  <a:schemeClr val="accent2"/>
                </a:gs>
                <a:gs pos="0">
                  <a:schemeClr val="accent3"/>
                </a:gs>
              </a:gsLst>
              <a:lin ang="0" scaled="1"/>
              <a:tileRect/>
            </a:gradFill>
            <a:ln w="1270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grpSp>
      <p:sp>
        <p:nvSpPr>
          <p:cNvPr id="32" name="Título 31">
            <a:extLst>
              <a:ext uri="{FF2B5EF4-FFF2-40B4-BE49-F238E27FC236}">
                <a16:creationId xmlns:a16="http://schemas.microsoft.com/office/drawing/2014/main" id="{2DCC0689-1468-6D28-B348-71C5EB253FBC}"/>
              </a:ext>
            </a:extLst>
          </p:cNvPr>
          <p:cNvSpPr>
            <a:spLocks noGrp="1"/>
          </p:cNvSpPr>
          <p:nvPr>
            <p:ph type="title"/>
          </p:nvPr>
        </p:nvSpPr>
        <p:spPr>
          <a:xfrm>
            <a:off x="869899" y="117387"/>
            <a:ext cx="10550013" cy="798836"/>
          </a:xfrm>
        </p:spPr>
        <p:txBody>
          <a:bodyPr>
            <a:noAutofit/>
          </a:bodyPr>
          <a:lstStyle/>
          <a:p>
            <a:r>
              <a:rPr lang="en-US" dirty="0">
                <a:cs typeface="Poppins"/>
              </a:rPr>
              <a:t>Most people prefer websites organized by product or by space.</a:t>
            </a:r>
            <a:endParaRPr lang="es-CO" dirty="0">
              <a:cs typeface="Poppins"/>
            </a:endParaRPr>
          </a:p>
        </p:txBody>
      </p:sp>
      <p:pic>
        <p:nvPicPr>
          <p:cNvPr id="4" name="Imagen 3">
            <a:extLst>
              <a:ext uri="{FF2B5EF4-FFF2-40B4-BE49-F238E27FC236}">
                <a16:creationId xmlns:a16="http://schemas.microsoft.com/office/drawing/2014/main" id="{0BA784D1-0D5C-1805-F40A-D64882BB91AD}"/>
              </a:ext>
            </a:extLst>
          </p:cNvPr>
          <p:cNvPicPr>
            <a:picLocks noChangeAspect="1"/>
          </p:cNvPicPr>
          <p:nvPr/>
        </p:nvPicPr>
        <p:blipFill rotWithShape="1">
          <a:blip r:embed="rId10"/>
          <a:srcRect l="2365" t="24493" r="2856" b="9136"/>
          <a:stretch/>
        </p:blipFill>
        <p:spPr>
          <a:xfrm>
            <a:off x="4013937" y="4982491"/>
            <a:ext cx="2942021" cy="1192746"/>
          </a:xfrm>
          <a:prstGeom prst="rect">
            <a:avLst/>
          </a:prstGeom>
        </p:spPr>
      </p:pic>
      <p:pic>
        <p:nvPicPr>
          <p:cNvPr id="6" name="Imagen 5">
            <a:extLst>
              <a:ext uri="{FF2B5EF4-FFF2-40B4-BE49-F238E27FC236}">
                <a16:creationId xmlns:a16="http://schemas.microsoft.com/office/drawing/2014/main" id="{A14FFE84-2A1E-104A-0136-B33754A9B82D}"/>
              </a:ext>
            </a:extLst>
          </p:cNvPr>
          <p:cNvPicPr>
            <a:picLocks noChangeAspect="1"/>
          </p:cNvPicPr>
          <p:nvPr/>
        </p:nvPicPr>
        <p:blipFill rotWithShape="1">
          <a:blip r:embed="rId11"/>
          <a:srcRect t="24698" r="2671"/>
          <a:stretch/>
        </p:blipFill>
        <p:spPr>
          <a:xfrm>
            <a:off x="3726723" y="3224171"/>
            <a:ext cx="3424041" cy="1002205"/>
          </a:xfrm>
          <a:prstGeom prst="rect">
            <a:avLst/>
          </a:prstGeom>
        </p:spPr>
      </p:pic>
      <p:pic>
        <p:nvPicPr>
          <p:cNvPr id="8" name="Imagen 7">
            <a:extLst>
              <a:ext uri="{FF2B5EF4-FFF2-40B4-BE49-F238E27FC236}">
                <a16:creationId xmlns:a16="http://schemas.microsoft.com/office/drawing/2014/main" id="{2EF574BD-6725-312A-FEBE-38D5AC2C3BD6}"/>
              </a:ext>
            </a:extLst>
          </p:cNvPr>
          <p:cNvPicPr>
            <a:picLocks noChangeAspect="1"/>
          </p:cNvPicPr>
          <p:nvPr/>
        </p:nvPicPr>
        <p:blipFill rotWithShape="1">
          <a:blip r:embed="rId12"/>
          <a:srcRect l="19595" t="5451" r="20217" b="11618"/>
          <a:stretch/>
        </p:blipFill>
        <p:spPr>
          <a:xfrm>
            <a:off x="3876188" y="1270202"/>
            <a:ext cx="3217520" cy="1224277"/>
          </a:xfrm>
          <a:prstGeom prst="rect">
            <a:avLst/>
          </a:prstGeom>
        </p:spPr>
      </p:pic>
      <p:sp>
        <p:nvSpPr>
          <p:cNvPr id="15" name="CuadroTexto 14">
            <a:extLst>
              <a:ext uri="{FF2B5EF4-FFF2-40B4-BE49-F238E27FC236}">
                <a16:creationId xmlns:a16="http://schemas.microsoft.com/office/drawing/2014/main" id="{3C9A98DF-EC13-89A7-7262-742B63252974}"/>
              </a:ext>
            </a:extLst>
          </p:cNvPr>
          <p:cNvSpPr txBox="1"/>
          <p:nvPr/>
        </p:nvSpPr>
        <p:spPr>
          <a:xfrm>
            <a:off x="1762102" y="2216886"/>
            <a:ext cx="659524" cy="369332"/>
          </a:xfrm>
          <a:prstGeom prst="rect">
            <a:avLst/>
          </a:prstGeom>
          <a:noFill/>
        </p:spPr>
        <p:txBody>
          <a:bodyPr wrap="square" rtlCol="0">
            <a:spAutoFit/>
          </a:bodyPr>
          <a:lstStyle/>
          <a:p>
            <a:pPr algn="ctr"/>
            <a:r>
              <a:rPr lang="es-CO" b="1">
                <a:solidFill>
                  <a:schemeClr val="bg1"/>
                </a:solidFill>
                <a:latin typeface="+mj-lt"/>
              </a:rPr>
              <a:t>17</a:t>
            </a:r>
          </a:p>
        </p:txBody>
      </p:sp>
      <p:sp>
        <p:nvSpPr>
          <p:cNvPr id="16" name="CuadroTexto 15">
            <a:extLst>
              <a:ext uri="{FF2B5EF4-FFF2-40B4-BE49-F238E27FC236}">
                <a16:creationId xmlns:a16="http://schemas.microsoft.com/office/drawing/2014/main" id="{55DFE3AD-21EF-3EAD-59A7-3CE426A9C317}"/>
              </a:ext>
            </a:extLst>
          </p:cNvPr>
          <p:cNvSpPr txBox="1"/>
          <p:nvPr/>
        </p:nvSpPr>
        <p:spPr>
          <a:xfrm>
            <a:off x="2253191" y="2809809"/>
            <a:ext cx="659524" cy="369332"/>
          </a:xfrm>
          <a:prstGeom prst="rect">
            <a:avLst/>
          </a:prstGeom>
          <a:noFill/>
        </p:spPr>
        <p:txBody>
          <a:bodyPr wrap="square" rtlCol="0">
            <a:spAutoFit/>
          </a:bodyPr>
          <a:lstStyle/>
          <a:p>
            <a:pPr algn="ctr"/>
            <a:r>
              <a:rPr lang="es-CO" b="1">
                <a:solidFill>
                  <a:schemeClr val="bg1"/>
                </a:solidFill>
                <a:latin typeface="+mj-lt"/>
              </a:rPr>
              <a:t>6</a:t>
            </a:r>
          </a:p>
        </p:txBody>
      </p:sp>
      <p:sp>
        <p:nvSpPr>
          <p:cNvPr id="17" name="CuadroTexto 16">
            <a:extLst>
              <a:ext uri="{FF2B5EF4-FFF2-40B4-BE49-F238E27FC236}">
                <a16:creationId xmlns:a16="http://schemas.microsoft.com/office/drawing/2014/main" id="{FF16D937-AF32-F540-FB9F-84BAA07A89E6}"/>
              </a:ext>
            </a:extLst>
          </p:cNvPr>
          <p:cNvSpPr txBox="1"/>
          <p:nvPr/>
        </p:nvSpPr>
        <p:spPr>
          <a:xfrm>
            <a:off x="1256755" y="2824264"/>
            <a:ext cx="659524" cy="369332"/>
          </a:xfrm>
          <a:prstGeom prst="rect">
            <a:avLst/>
          </a:prstGeom>
          <a:noFill/>
        </p:spPr>
        <p:txBody>
          <a:bodyPr wrap="square" rtlCol="0">
            <a:spAutoFit/>
          </a:bodyPr>
          <a:lstStyle/>
          <a:p>
            <a:pPr algn="ctr"/>
            <a:r>
              <a:rPr lang="es-CO" b="1">
                <a:solidFill>
                  <a:schemeClr val="bg1"/>
                </a:solidFill>
                <a:latin typeface="+mj-lt"/>
              </a:rPr>
              <a:t>3</a:t>
            </a:r>
          </a:p>
        </p:txBody>
      </p:sp>
      <p:sp>
        <p:nvSpPr>
          <p:cNvPr id="18" name="CuadroTexto 17">
            <a:extLst>
              <a:ext uri="{FF2B5EF4-FFF2-40B4-BE49-F238E27FC236}">
                <a16:creationId xmlns:a16="http://schemas.microsoft.com/office/drawing/2014/main" id="{B253931B-3A19-197A-865D-2CE7A1CB4B88}"/>
              </a:ext>
            </a:extLst>
          </p:cNvPr>
          <p:cNvSpPr txBox="1"/>
          <p:nvPr/>
        </p:nvSpPr>
        <p:spPr>
          <a:xfrm>
            <a:off x="2545998" y="3592760"/>
            <a:ext cx="659524" cy="369332"/>
          </a:xfrm>
          <a:prstGeom prst="rect">
            <a:avLst/>
          </a:prstGeom>
          <a:noFill/>
        </p:spPr>
        <p:txBody>
          <a:bodyPr wrap="square" rtlCol="0">
            <a:spAutoFit/>
          </a:bodyPr>
          <a:lstStyle/>
          <a:p>
            <a:pPr algn="ctr"/>
            <a:r>
              <a:rPr lang="es-CO" b="1">
                <a:solidFill>
                  <a:schemeClr val="bg1"/>
                </a:solidFill>
                <a:latin typeface="+mj-lt"/>
              </a:rPr>
              <a:t>14</a:t>
            </a:r>
          </a:p>
        </p:txBody>
      </p:sp>
      <p:sp>
        <p:nvSpPr>
          <p:cNvPr id="19" name="CuadroTexto 18">
            <a:extLst>
              <a:ext uri="{FF2B5EF4-FFF2-40B4-BE49-F238E27FC236}">
                <a16:creationId xmlns:a16="http://schemas.microsoft.com/office/drawing/2014/main" id="{6C744237-01E7-4598-FE29-FED8E954F021}"/>
              </a:ext>
            </a:extLst>
          </p:cNvPr>
          <p:cNvSpPr txBox="1"/>
          <p:nvPr/>
        </p:nvSpPr>
        <p:spPr>
          <a:xfrm>
            <a:off x="1762788" y="3690601"/>
            <a:ext cx="659524" cy="369332"/>
          </a:xfrm>
          <a:prstGeom prst="rect">
            <a:avLst/>
          </a:prstGeom>
          <a:noFill/>
        </p:spPr>
        <p:txBody>
          <a:bodyPr wrap="square" rtlCol="0">
            <a:spAutoFit/>
          </a:bodyPr>
          <a:lstStyle/>
          <a:p>
            <a:pPr algn="ctr"/>
            <a:r>
              <a:rPr lang="es-CO" b="1">
                <a:solidFill>
                  <a:schemeClr val="bg1"/>
                </a:solidFill>
                <a:latin typeface="+mj-lt"/>
              </a:rPr>
              <a:t>2</a:t>
            </a:r>
          </a:p>
        </p:txBody>
      </p:sp>
      <p:sp>
        <p:nvSpPr>
          <p:cNvPr id="20" name="CuadroTexto 19">
            <a:extLst>
              <a:ext uri="{FF2B5EF4-FFF2-40B4-BE49-F238E27FC236}">
                <a16:creationId xmlns:a16="http://schemas.microsoft.com/office/drawing/2014/main" id="{08681B31-8D13-200B-62FE-0B1B0BA1BB74}"/>
              </a:ext>
            </a:extLst>
          </p:cNvPr>
          <p:cNvSpPr txBox="1"/>
          <p:nvPr/>
        </p:nvSpPr>
        <p:spPr>
          <a:xfrm>
            <a:off x="1002895" y="3563376"/>
            <a:ext cx="659524" cy="369332"/>
          </a:xfrm>
          <a:prstGeom prst="rect">
            <a:avLst/>
          </a:prstGeom>
          <a:noFill/>
        </p:spPr>
        <p:txBody>
          <a:bodyPr wrap="square" rtlCol="0">
            <a:spAutoFit/>
          </a:bodyPr>
          <a:lstStyle/>
          <a:p>
            <a:pPr algn="ctr"/>
            <a:r>
              <a:rPr lang="es-CO" b="1">
                <a:solidFill>
                  <a:schemeClr val="bg1"/>
                </a:solidFill>
                <a:latin typeface="+mj-lt"/>
              </a:rPr>
              <a:t>8</a:t>
            </a:r>
          </a:p>
        </p:txBody>
      </p:sp>
      <p:cxnSp>
        <p:nvCxnSpPr>
          <p:cNvPr id="26" name="Conector: angular 25">
            <a:extLst>
              <a:ext uri="{FF2B5EF4-FFF2-40B4-BE49-F238E27FC236}">
                <a16:creationId xmlns:a16="http://schemas.microsoft.com/office/drawing/2014/main" id="{833AC374-5E70-9FCC-6833-D5269AE8683B}"/>
              </a:ext>
            </a:extLst>
          </p:cNvPr>
          <p:cNvCxnSpPr>
            <a:cxnSpLocks/>
            <a:endCxn id="55" idx="1"/>
          </p:cNvCxnSpPr>
          <p:nvPr/>
        </p:nvCxnSpPr>
        <p:spPr>
          <a:xfrm flipV="1">
            <a:off x="2091864" y="1773323"/>
            <a:ext cx="1511644" cy="18435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5" name="Rectángulo: esquinas redondeadas 54">
            <a:extLst>
              <a:ext uri="{FF2B5EF4-FFF2-40B4-BE49-F238E27FC236}">
                <a16:creationId xmlns:a16="http://schemas.microsoft.com/office/drawing/2014/main" id="{1512DA57-82E8-EE70-B488-0FCF01A2E043}"/>
              </a:ext>
            </a:extLst>
          </p:cNvPr>
          <p:cNvSpPr/>
          <p:nvPr/>
        </p:nvSpPr>
        <p:spPr>
          <a:xfrm>
            <a:off x="3603508" y="935644"/>
            <a:ext cx="8366888" cy="167535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0" name="CuadroTexto 59">
            <a:extLst>
              <a:ext uri="{FF2B5EF4-FFF2-40B4-BE49-F238E27FC236}">
                <a16:creationId xmlns:a16="http://schemas.microsoft.com/office/drawing/2014/main" id="{DF1FBF2E-5DB9-98E7-9320-7BB3376E6E34}"/>
              </a:ext>
            </a:extLst>
          </p:cNvPr>
          <p:cNvSpPr txBox="1"/>
          <p:nvPr/>
        </p:nvSpPr>
        <p:spPr>
          <a:xfrm>
            <a:off x="3876188" y="811214"/>
            <a:ext cx="3217520" cy="306467"/>
          </a:xfrm>
          <a:prstGeom prst="roundRect">
            <a:avLst/>
          </a:prstGeom>
          <a:solidFill>
            <a:srgbClr val="6200EE"/>
          </a:solidFill>
        </p:spPr>
        <p:txBody>
          <a:bodyPr wrap="square" rtlCol="0" anchor="ctr">
            <a:spAutoFit/>
          </a:bodyPr>
          <a:lstStyle/>
          <a:p>
            <a:pPr algn="ctr"/>
            <a:r>
              <a:rPr lang="es-CO" sz="1200" b="1" dirty="0">
                <a:solidFill>
                  <a:schemeClr val="bg1"/>
                </a:solidFill>
                <a:latin typeface="+mj-lt"/>
              </a:rPr>
              <a:t>Product</a:t>
            </a:r>
          </a:p>
        </p:txBody>
      </p:sp>
      <p:sp>
        <p:nvSpPr>
          <p:cNvPr id="66" name="CuadroTexto 65">
            <a:extLst>
              <a:ext uri="{FF2B5EF4-FFF2-40B4-BE49-F238E27FC236}">
                <a16:creationId xmlns:a16="http://schemas.microsoft.com/office/drawing/2014/main" id="{F4DAD719-9437-32AB-684D-09581F8C6633}"/>
              </a:ext>
            </a:extLst>
          </p:cNvPr>
          <p:cNvSpPr txBox="1"/>
          <p:nvPr/>
        </p:nvSpPr>
        <p:spPr>
          <a:xfrm>
            <a:off x="7109529" y="925468"/>
            <a:ext cx="4408995" cy="1546577"/>
          </a:xfrm>
          <a:prstGeom prst="rect">
            <a:avLst/>
          </a:prstGeom>
          <a:noFill/>
        </p:spPr>
        <p:txBody>
          <a:bodyPr wrap="square" rtlCol="0">
            <a:spAutoFit/>
          </a:bodyPr>
          <a:lstStyle/>
          <a:p>
            <a:pPr marL="171450" indent="-171450">
              <a:buFont typeface="Arial" panose="020B0604020202020204" pitchFamily="34" charset="0"/>
              <a:buChar char="•"/>
            </a:pPr>
            <a:r>
              <a:rPr lang="en-US" sz="1050" dirty="0">
                <a:solidFill>
                  <a:srgbClr val="545353"/>
                </a:solidFill>
                <a:latin typeface="+mj-lt"/>
              </a:rPr>
              <a:t>Most people prefer this organization because it allows them to directly find what they are looking for.</a:t>
            </a:r>
          </a:p>
          <a:p>
            <a:r>
              <a:rPr lang="en-US" sz="1000" i="1" dirty="0">
                <a:solidFill>
                  <a:srgbClr val="545353"/>
                </a:solidFill>
                <a:latin typeface="+mj-lt"/>
              </a:rPr>
              <a:t>"It is easier to compare what I need and makes exploration more efficient."</a:t>
            </a:r>
          </a:p>
          <a:p>
            <a:pPr marL="171450" indent="-171450">
              <a:buFont typeface="Arial" panose="020B0604020202020204" pitchFamily="34" charset="0"/>
              <a:buChar char="•"/>
            </a:pPr>
            <a:r>
              <a:rPr lang="en-US" sz="1100" dirty="0">
                <a:solidFill>
                  <a:srgbClr val="545353"/>
                </a:solidFill>
                <a:latin typeface="+mj-lt"/>
              </a:rPr>
              <a:t>It is the more concise and therefore faster option.</a:t>
            </a:r>
          </a:p>
          <a:p>
            <a:r>
              <a:rPr lang="en-US" sz="1000" i="1" dirty="0">
                <a:solidFill>
                  <a:srgbClr val="545353"/>
                </a:solidFill>
                <a:latin typeface="+mj-lt"/>
              </a:rPr>
              <a:t>"It seems more specific and simpler, not offering as many options as the space category."</a:t>
            </a:r>
          </a:p>
          <a:p>
            <a:pPr marL="171450" indent="-171450">
              <a:buFont typeface="Arial" panose="020B0604020202020204" pitchFamily="34" charset="0"/>
              <a:buChar char="•"/>
            </a:pPr>
            <a:r>
              <a:rPr lang="en-US" sz="1050" dirty="0">
                <a:solidFill>
                  <a:srgbClr val="545353"/>
                </a:solidFill>
                <a:latin typeface="+mj-lt"/>
              </a:rPr>
              <a:t>And it ensures that they can compare all available options.</a:t>
            </a:r>
          </a:p>
          <a:p>
            <a:r>
              <a:rPr lang="en-US" sz="1000" i="1" dirty="0">
                <a:solidFill>
                  <a:srgbClr val="545353"/>
                </a:solidFill>
                <a:latin typeface="+mj-lt"/>
              </a:rPr>
              <a:t>"It is easier to compare and see all types of the same product</a:t>
            </a:r>
            <a:r>
              <a:rPr lang="en-US" sz="1100" i="1" dirty="0">
                <a:solidFill>
                  <a:srgbClr val="545353"/>
                </a:solidFill>
                <a:latin typeface="+mj-lt"/>
              </a:rPr>
              <a:t>."</a:t>
            </a:r>
            <a:endParaRPr lang="es-CO" sz="900" i="1" dirty="0">
              <a:solidFill>
                <a:srgbClr val="545353"/>
              </a:solidFill>
              <a:latin typeface="+mj-lt"/>
            </a:endParaRPr>
          </a:p>
        </p:txBody>
      </p:sp>
      <p:sp>
        <p:nvSpPr>
          <p:cNvPr id="67" name="Rectángulo: esquinas redondeadas 66">
            <a:extLst>
              <a:ext uri="{FF2B5EF4-FFF2-40B4-BE49-F238E27FC236}">
                <a16:creationId xmlns:a16="http://schemas.microsoft.com/office/drawing/2014/main" id="{F3B48D95-4BFB-7308-E9AF-42D67588D4B5}"/>
              </a:ext>
            </a:extLst>
          </p:cNvPr>
          <p:cNvSpPr/>
          <p:nvPr/>
        </p:nvSpPr>
        <p:spPr>
          <a:xfrm>
            <a:off x="3648540" y="2767982"/>
            <a:ext cx="8366888" cy="176696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8" name="Rectángulo: esquinas redondeadas 67">
            <a:extLst>
              <a:ext uri="{FF2B5EF4-FFF2-40B4-BE49-F238E27FC236}">
                <a16:creationId xmlns:a16="http://schemas.microsoft.com/office/drawing/2014/main" id="{0958AB10-2E0B-0348-F247-95649869C41F}"/>
              </a:ext>
            </a:extLst>
          </p:cNvPr>
          <p:cNvSpPr/>
          <p:nvPr/>
        </p:nvSpPr>
        <p:spPr>
          <a:xfrm>
            <a:off x="3648540" y="4694491"/>
            <a:ext cx="8366888" cy="1534248"/>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1" name="Elipse 70">
            <a:extLst>
              <a:ext uri="{FF2B5EF4-FFF2-40B4-BE49-F238E27FC236}">
                <a16:creationId xmlns:a16="http://schemas.microsoft.com/office/drawing/2014/main" id="{AFC435F9-A49B-4D78-10B5-CD062DECE097}"/>
              </a:ext>
            </a:extLst>
          </p:cNvPr>
          <p:cNvSpPr/>
          <p:nvPr/>
        </p:nvSpPr>
        <p:spPr>
          <a:xfrm>
            <a:off x="11518524" y="1077819"/>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2" name="Elipse 71">
            <a:extLst>
              <a:ext uri="{FF2B5EF4-FFF2-40B4-BE49-F238E27FC236}">
                <a16:creationId xmlns:a16="http://schemas.microsoft.com/office/drawing/2014/main" id="{5C3133D3-36E7-1327-05F6-B876D84C3DAE}"/>
              </a:ext>
            </a:extLst>
          </p:cNvPr>
          <p:cNvSpPr/>
          <p:nvPr/>
        </p:nvSpPr>
        <p:spPr>
          <a:xfrm>
            <a:off x="11518524" y="1597759"/>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3" name="Elipse 72">
            <a:extLst>
              <a:ext uri="{FF2B5EF4-FFF2-40B4-BE49-F238E27FC236}">
                <a16:creationId xmlns:a16="http://schemas.microsoft.com/office/drawing/2014/main" id="{5EEC44A1-AA5A-1CE0-263F-8694717117AE}"/>
              </a:ext>
            </a:extLst>
          </p:cNvPr>
          <p:cNvSpPr/>
          <p:nvPr/>
        </p:nvSpPr>
        <p:spPr>
          <a:xfrm>
            <a:off x="11518524" y="2117699"/>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5" name="CuadroTexto 74">
            <a:extLst>
              <a:ext uri="{FF2B5EF4-FFF2-40B4-BE49-F238E27FC236}">
                <a16:creationId xmlns:a16="http://schemas.microsoft.com/office/drawing/2014/main" id="{DB276395-1B7F-4F17-06F5-A1BD55383BAE}"/>
              </a:ext>
            </a:extLst>
          </p:cNvPr>
          <p:cNvSpPr txBox="1"/>
          <p:nvPr/>
        </p:nvSpPr>
        <p:spPr>
          <a:xfrm>
            <a:off x="3876188" y="2641034"/>
            <a:ext cx="3217520" cy="306467"/>
          </a:xfrm>
          <a:prstGeom prst="roundRect">
            <a:avLst/>
          </a:prstGeom>
          <a:solidFill>
            <a:srgbClr val="6200EE"/>
          </a:solidFill>
        </p:spPr>
        <p:txBody>
          <a:bodyPr wrap="square" rtlCol="0" anchor="ctr">
            <a:spAutoFit/>
          </a:bodyPr>
          <a:lstStyle/>
          <a:p>
            <a:pPr algn="ctr"/>
            <a:r>
              <a:rPr lang="es-CO" sz="1200" b="1" dirty="0">
                <a:solidFill>
                  <a:schemeClr val="bg1"/>
                </a:solidFill>
                <a:latin typeface="+mj-lt"/>
              </a:rPr>
              <a:t>Space</a:t>
            </a:r>
          </a:p>
        </p:txBody>
      </p:sp>
      <p:cxnSp>
        <p:nvCxnSpPr>
          <p:cNvPr id="76" name="Conector: angular 75">
            <a:extLst>
              <a:ext uri="{FF2B5EF4-FFF2-40B4-BE49-F238E27FC236}">
                <a16:creationId xmlns:a16="http://schemas.microsoft.com/office/drawing/2014/main" id="{1381AD58-D7DC-AD0F-B64C-04AEFD7686D1}"/>
              </a:ext>
            </a:extLst>
          </p:cNvPr>
          <p:cNvCxnSpPr>
            <a:cxnSpLocks/>
            <a:endCxn id="67" idx="1"/>
          </p:cNvCxnSpPr>
          <p:nvPr/>
        </p:nvCxnSpPr>
        <p:spPr>
          <a:xfrm flipV="1">
            <a:off x="2501064" y="3651466"/>
            <a:ext cx="1147476" cy="667811"/>
          </a:xfrm>
          <a:prstGeom prst="bentConnector3">
            <a:avLst>
              <a:gd name="adj1" fmla="val 80357"/>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80" name="CuadroTexto 79">
            <a:extLst>
              <a:ext uri="{FF2B5EF4-FFF2-40B4-BE49-F238E27FC236}">
                <a16:creationId xmlns:a16="http://schemas.microsoft.com/office/drawing/2014/main" id="{063766A4-058E-E775-DCAA-B91321A1E00B}"/>
              </a:ext>
            </a:extLst>
          </p:cNvPr>
          <p:cNvSpPr txBox="1"/>
          <p:nvPr/>
        </p:nvSpPr>
        <p:spPr>
          <a:xfrm>
            <a:off x="7109529" y="2765235"/>
            <a:ext cx="4408995" cy="1877437"/>
          </a:xfrm>
          <a:prstGeom prst="rect">
            <a:avLst/>
          </a:prstGeom>
          <a:noFill/>
        </p:spPr>
        <p:txBody>
          <a:bodyPr wrap="square" rtlCol="0">
            <a:spAutoFit/>
          </a:bodyPr>
          <a:lstStyle/>
          <a:p>
            <a:pPr marL="171450" indent="-171450">
              <a:buFont typeface="Arial" panose="020B0604020202020204" pitchFamily="34" charset="0"/>
              <a:buChar char="•"/>
            </a:pPr>
            <a:r>
              <a:rPr lang="en-US" sz="1050" dirty="0">
                <a:solidFill>
                  <a:srgbClr val="545353"/>
                </a:solidFill>
                <a:latin typeface="+mj-lt"/>
              </a:rPr>
              <a:t>The main reason for preferring this organization is that it is intuitive, and the buyer can reference objects within a specific environment.</a:t>
            </a:r>
          </a:p>
          <a:p>
            <a:r>
              <a:rPr lang="en-US" sz="1000" i="1" dirty="0">
                <a:solidFill>
                  <a:srgbClr val="545353"/>
                </a:solidFill>
                <a:latin typeface="+mj-lt"/>
              </a:rPr>
              <a:t>"It allows me to see products organized in a way that I find more intuitive and logical.“</a:t>
            </a:r>
          </a:p>
          <a:p>
            <a:r>
              <a:rPr lang="en-US" sz="1000" i="1" dirty="0">
                <a:solidFill>
                  <a:srgbClr val="545353"/>
                </a:solidFill>
                <a:latin typeface="+mj-lt"/>
              </a:rPr>
              <a:t>"If I'm talking about the home, it's easier to think about which products are found in each space."</a:t>
            </a:r>
          </a:p>
          <a:p>
            <a:pPr marL="171450" indent="-171450">
              <a:buFont typeface="Arial" panose="020B0604020202020204" pitchFamily="34" charset="0"/>
              <a:buChar char="•"/>
            </a:pPr>
            <a:r>
              <a:rPr lang="en-US" sz="1050" dirty="0">
                <a:solidFill>
                  <a:srgbClr val="545353"/>
                </a:solidFill>
                <a:latin typeface="+mj-lt"/>
              </a:rPr>
              <a:t>Additionally, it allows for greater exploration to find complementary products and inspiration.</a:t>
            </a:r>
          </a:p>
          <a:p>
            <a:r>
              <a:rPr lang="en-US" sz="1000" i="1" dirty="0">
                <a:solidFill>
                  <a:srgbClr val="545353"/>
                </a:solidFill>
                <a:latin typeface="+mj-lt"/>
              </a:rPr>
              <a:t>"I think it's good for getting inspired and having options on how to decorate my spaces."</a:t>
            </a:r>
            <a:endParaRPr lang="es-CO" sz="700" i="1" dirty="0">
              <a:solidFill>
                <a:srgbClr val="545353"/>
              </a:solidFill>
              <a:latin typeface="+mj-lt"/>
            </a:endParaRPr>
          </a:p>
        </p:txBody>
      </p:sp>
      <p:sp>
        <p:nvSpPr>
          <p:cNvPr id="81" name="CuadroTexto 80">
            <a:extLst>
              <a:ext uri="{FF2B5EF4-FFF2-40B4-BE49-F238E27FC236}">
                <a16:creationId xmlns:a16="http://schemas.microsoft.com/office/drawing/2014/main" id="{B19FA038-0CB7-A484-FAFF-8B6FA72A8D32}"/>
              </a:ext>
            </a:extLst>
          </p:cNvPr>
          <p:cNvSpPr txBox="1"/>
          <p:nvPr/>
        </p:nvSpPr>
        <p:spPr>
          <a:xfrm>
            <a:off x="3876188" y="4600851"/>
            <a:ext cx="3217520" cy="306467"/>
          </a:xfrm>
          <a:prstGeom prst="roundRect">
            <a:avLst/>
          </a:prstGeom>
          <a:solidFill>
            <a:srgbClr val="6200EE"/>
          </a:solidFill>
        </p:spPr>
        <p:txBody>
          <a:bodyPr wrap="square" rtlCol="0" anchor="ctr">
            <a:spAutoFit/>
          </a:bodyPr>
          <a:lstStyle/>
          <a:p>
            <a:pPr algn="ctr"/>
            <a:r>
              <a:rPr lang="en-US" sz="1200" b="1" dirty="0">
                <a:solidFill>
                  <a:schemeClr val="bg1"/>
                </a:solidFill>
                <a:latin typeface="+mj-lt"/>
              </a:rPr>
              <a:t>Category</a:t>
            </a:r>
          </a:p>
        </p:txBody>
      </p:sp>
      <p:sp>
        <p:nvSpPr>
          <p:cNvPr id="83" name="CuadroTexto 82">
            <a:extLst>
              <a:ext uri="{FF2B5EF4-FFF2-40B4-BE49-F238E27FC236}">
                <a16:creationId xmlns:a16="http://schemas.microsoft.com/office/drawing/2014/main" id="{35C6C7E7-F6F0-5359-76CC-594BC27EBEF6}"/>
              </a:ext>
            </a:extLst>
          </p:cNvPr>
          <p:cNvSpPr txBox="1"/>
          <p:nvPr/>
        </p:nvSpPr>
        <p:spPr>
          <a:xfrm>
            <a:off x="7109529" y="4729529"/>
            <a:ext cx="4408995" cy="1384995"/>
          </a:xfrm>
          <a:prstGeom prst="rect">
            <a:avLst/>
          </a:prstGeom>
          <a:noFill/>
        </p:spPr>
        <p:txBody>
          <a:bodyPr wrap="square" rtlCol="0">
            <a:spAutoFit/>
          </a:bodyPr>
          <a:lstStyle/>
          <a:p>
            <a:pPr marL="171450" indent="-171450">
              <a:buFont typeface="Arial" panose="020B0604020202020204" pitchFamily="34" charset="0"/>
              <a:buChar char="•"/>
            </a:pPr>
            <a:r>
              <a:rPr lang="en-US" sz="1100" dirty="0">
                <a:solidFill>
                  <a:srgbClr val="545353"/>
                </a:solidFill>
                <a:latin typeface="+mj-lt"/>
              </a:rPr>
              <a:t>This option is chosen by those who prefer the generality and variety of products, offering a broader exploration path that allows them to go from the general to the specific.</a:t>
            </a:r>
          </a:p>
          <a:p>
            <a:r>
              <a:rPr lang="en-US" sz="1000" i="1" dirty="0">
                <a:solidFill>
                  <a:srgbClr val="545353"/>
                </a:solidFill>
                <a:latin typeface="+mj-lt"/>
              </a:rPr>
              <a:t>"The category should come before the product type, so I can go from the broadest to the most specific."</a:t>
            </a:r>
          </a:p>
          <a:p>
            <a:r>
              <a:rPr lang="en-US" sz="1000" i="1" dirty="0">
                <a:solidFill>
                  <a:srgbClr val="545353"/>
                </a:solidFill>
                <a:latin typeface="+mj-lt"/>
              </a:rPr>
              <a:t>“Organization by category is broader and useful if the page then shows the details of that category."</a:t>
            </a:r>
            <a:endParaRPr lang="es-CO" sz="700" i="1" dirty="0">
              <a:solidFill>
                <a:srgbClr val="545353"/>
              </a:solidFill>
              <a:latin typeface="+mj-lt"/>
            </a:endParaRPr>
          </a:p>
        </p:txBody>
      </p:sp>
      <p:cxnSp>
        <p:nvCxnSpPr>
          <p:cNvPr id="84" name="Conector: angular 83">
            <a:extLst>
              <a:ext uri="{FF2B5EF4-FFF2-40B4-BE49-F238E27FC236}">
                <a16:creationId xmlns:a16="http://schemas.microsoft.com/office/drawing/2014/main" id="{CEA140EA-231E-4A56-F922-091ED6FF9C06}"/>
              </a:ext>
            </a:extLst>
          </p:cNvPr>
          <p:cNvCxnSpPr>
            <a:cxnSpLocks/>
            <a:endCxn id="68" idx="1"/>
          </p:cNvCxnSpPr>
          <p:nvPr/>
        </p:nvCxnSpPr>
        <p:spPr>
          <a:xfrm>
            <a:off x="1682664" y="4319277"/>
            <a:ext cx="1965876" cy="1142338"/>
          </a:xfrm>
          <a:prstGeom prst="bentConnector3">
            <a:avLst>
              <a:gd name="adj1" fmla="val 2379"/>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93" name="Elipse 92">
            <a:extLst>
              <a:ext uri="{FF2B5EF4-FFF2-40B4-BE49-F238E27FC236}">
                <a16:creationId xmlns:a16="http://schemas.microsoft.com/office/drawing/2014/main" id="{DCEB91FB-BC91-8254-1BC6-0D0BA0358D10}"/>
              </a:ext>
            </a:extLst>
          </p:cNvPr>
          <p:cNvSpPr/>
          <p:nvPr/>
        </p:nvSpPr>
        <p:spPr>
          <a:xfrm>
            <a:off x="11518524" y="3412768"/>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4" name="Elipse 93">
            <a:extLst>
              <a:ext uri="{FF2B5EF4-FFF2-40B4-BE49-F238E27FC236}">
                <a16:creationId xmlns:a16="http://schemas.microsoft.com/office/drawing/2014/main" id="{3AA011C3-7220-5E6E-F946-D46806087A0A}"/>
              </a:ext>
            </a:extLst>
          </p:cNvPr>
          <p:cNvSpPr/>
          <p:nvPr/>
        </p:nvSpPr>
        <p:spPr>
          <a:xfrm>
            <a:off x="11518524" y="3932708"/>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5" name="TextBox 5">
            <a:extLst>
              <a:ext uri="{FF2B5EF4-FFF2-40B4-BE49-F238E27FC236}">
                <a16:creationId xmlns:a16="http://schemas.microsoft.com/office/drawing/2014/main" id="{F6608611-8B70-AB34-F447-51960D0DE592}"/>
              </a:ext>
            </a:extLst>
          </p:cNvPr>
          <p:cNvSpPr txBox="1"/>
          <p:nvPr/>
        </p:nvSpPr>
        <p:spPr>
          <a:xfrm>
            <a:off x="3748158" y="6435222"/>
            <a:ext cx="8366888" cy="369332"/>
          </a:xfrm>
          <a:prstGeom prst="rect">
            <a:avLst/>
          </a:prstGeom>
          <a:noFill/>
        </p:spPr>
        <p:txBody>
          <a:bodyPr wrap="square" rtlCol="0" anchor="b" anchorCtr="0">
            <a:spAutoFit/>
          </a:bodyPr>
          <a:lstStyle/>
          <a:p>
            <a:pPr marR="0" lvl="0" defTabSz="914400" rtl="0" eaLnBrk="1" fontAlgn="auto" latinLnBrk="0" hangingPunct="1">
              <a:lnSpc>
                <a:spcPct val="100000"/>
              </a:lnSpc>
              <a:spcBef>
                <a:spcPts val="0"/>
              </a:spcBef>
              <a:spcAft>
                <a:spcPts val="0"/>
              </a:spcAft>
              <a:buClrTx/>
              <a:buSzTx/>
              <a:tabLst/>
              <a:defRPr/>
            </a:pPr>
            <a:r>
              <a:rPr lang="es-CO" sz="900" b="1" dirty="0" err="1">
                <a:solidFill>
                  <a:srgbClr val="545353"/>
                </a:solidFill>
                <a:latin typeface="Poppins" pitchFamily="2" charset="77"/>
                <a:ea typeface="League Spartan" charset="0"/>
                <a:cs typeface="Poppins" pitchFamily="2" charset="77"/>
              </a:rPr>
              <a:t>Question</a:t>
            </a:r>
            <a:endParaRPr lang="es-CO" sz="900" b="1" dirty="0">
              <a:solidFill>
                <a:srgbClr val="545353"/>
              </a:solidFill>
              <a:latin typeface="Poppins" pitchFamily="2" charset="77"/>
              <a:ea typeface="League Spartan" charset="0"/>
              <a:cs typeface="Poppins" pitchFamily="2" charset="77"/>
            </a:endParaRPr>
          </a:p>
          <a:p>
            <a:pPr marR="0" lvl="0" defTabSz="914400" rtl="0" eaLnBrk="1" fontAlgn="auto" latinLnBrk="0" hangingPunct="1">
              <a:lnSpc>
                <a:spcPct val="100000"/>
              </a:lnSpc>
              <a:spcBef>
                <a:spcPts val="0"/>
              </a:spcBef>
              <a:spcAft>
                <a:spcPts val="0"/>
              </a:spcAft>
              <a:buClrTx/>
              <a:buSzTx/>
              <a:tabLst/>
              <a:defRPr/>
            </a:pPr>
            <a:r>
              <a:rPr lang="en-US" sz="900" i="1" dirty="0">
                <a:solidFill>
                  <a:srgbClr val="545353"/>
                </a:solidFill>
                <a:latin typeface="Poppins" pitchFamily="2" charset="77"/>
                <a:ea typeface="League Spartan" charset="0"/>
                <a:cs typeface="Poppins" pitchFamily="2" charset="77"/>
              </a:rPr>
              <a:t>If you had to choose a type of organization or filter to find a product, which would you consider better? N=50</a:t>
            </a:r>
            <a:endParaRPr lang="es-CO" sz="900" i="1" dirty="0">
              <a:solidFill>
                <a:srgbClr val="545353"/>
              </a:solidFill>
              <a:latin typeface="Poppins" pitchFamily="2" charset="77"/>
              <a:ea typeface="League Spartan" charset="0"/>
              <a:cs typeface="Poppins" pitchFamily="2" charset="77"/>
            </a:endParaRPr>
          </a:p>
        </p:txBody>
      </p:sp>
      <p:sp>
        <p:nvSpPr>
          <p:cNvPr id="97" name="Elipse 96">
            <a:extLst>
              <a:ext uri="{FF2B5EF4-FFF2-40B4-BE49-F238E27FC236}">
                <a16:creationId xmlns:a16="http://schemas.microsoft.com/office/drawing/2014/main" id="{8AC7D326-D251-C535-7FDC-4131A06F338A}"/>
              </a:ext>
            </a:extLst>
          </p:cNvPr>
          <p:cNvSpPr/>
          <p:nvPr/>
        </p:nvSpPr>
        <p:spPr>
          <a:xfrm>
            <a:off x="11522642" y="5280498"/>
            <a:ext cx="360000" cy="36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8" name="Rectángulo: esquinas superiores redondeadas 97">
            <a:extLst>
              <a:ext uri="{FF2B5EF4-FFF2-40B4-BE49-F238E27FC236}">
                <a16:creationId xmlns:a16="http://schemas.microsoft.com/office/drawing/2014/main" id="{B05B5995-0E8C-8E4E-5E02-3831B0B67EE2}"/>
              </a:ext>
            </a:extLst>
          </p:cNvPr>
          <p:cNvSpPr/>
          <p:nvPr/>
        </p:nvSpPr>
        <p:spPr>
          <a:xfrm>
            <a:off x="723905" y="5767647"/>
            <a:ext cx="2814563" cy="1121367"/>
          </a:xfrm>
          <a:prstGeom prst="round2SameRect">
            <a:avLst>
              <a:gd name="adj1" fmla="val 10147"/>
              <a:gd name="adj2" fmla="val 0"/>
            </a:avLst>
          </a:prstGeom>
          <a:solidFill>
            <a:schemeClr val="accent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latin typeface="+mj-lt"/>
            </a:endParaRPr>
          </a:p>
        </p:txBody>
      </p:sp>
      <p:sp>
        <p:nvSpPr>
          <p:cNvPr id="99" name="TextBox 14">
            <a:extLst>
              <a:ext uri="{FF2B5EF4-FFF2-40B4-BE49-F238E27FC236}">
                <a16:creationId xmlns:a16="http://schemas.microsoft.com/office/drawing/2014/main" id="{E95AF8D2-E0A1-F359-0AED-DCD8E3017140}"/>
              </a:ext>
            </a:extLst>
          </p:cNvPr>
          <p:cNvSpPr txBox="1"/>
          <p:nvPr/>
        </p:nvSpPr>
        <p:spPr>
          <a:xfrm>
            <a:off x="788945" y="5924750"/>
            <a:ext cx="2802277" cy="938719"/>
          </a:xfrm>
          <a:prstGeom prst="rect">
            <a:avLst/>
          </a:prstGeom>
          <a:noFill/>
        </p:spPr>
        <p:txBody>
          <a:bodyPr wrap="square" rtlCol="0" anchor="b">
            <a:spAutoFit/>
          </a:bodyPr>
          <a:lstStyle/>
          <a:p>
            <a:r>
              <a:rPr lang="es-CO" sz="1100" b="1" spc="-15" dirty="0" err="1">
                <a:solidFill>
                  <a:srgbClr val="545353"/>
                </a:solidFill>
                <a:latin typeface="+mj-lt"/>
                <a:cs typeface="Poppins" pitchFamily="2" charset="77"/>
              </a:rPr>
              <a:t>Pain</a:t>
            </a:r>
            <a:r>
              <a:rPr lang="es-CO" sz="1100" b="1" spc="-15" dirty="0">
                <a:solidFill>
                  <a:srgbClr val="545353"/>
                </a:solidFill>
                <a:latin typeface="+mj-lt"/>
                <a:cs typeface="Poppins" pitchFamily="2" charset="77"/>
              </a:rPr>
              <a:t> </a:t>
            </a:r>
            <a:r>
              <a:rPr lang="es-CO" sz="1100" b="1" spc="-15" dirty="0" err="1">
                <a:solidFill>
                  <a:srgbClr val="545353"/>
                </a:solidFill>
                <a:latin typeface="+mj-lt"/>
                <a:cs typeface="Poppins" pitchFamily="2" charset="77"/>
              </a:rPr>
              <a:t>points</a:t>
            </a:r>
            <a:endParaRPr lang="es-CO" sz="1100" b="1" spc="-15" dirty="0">
              <a:solidFill>
                <a:srgbClr val="545353"/>
              </a:solidFill>
              <a:latin typeface="+mj-lt"/>
              <a:cs typeface="Poppins" pitchFamily="2" charset="77"/>
            </a:endParaRPr>
          </a:p>
          <a:p>
            <a:pPr marL="171450" indent="-171450">
              <a:buFont typeface="Arial" panose="020B0604020202020204" pitchFamily="34" charset="0"/>
              <a:buChar char="•"/>
            </a:pPr>
            <a:r>
              <a:rPr lang="en-US" sz="1100" dirty="0">
                <a:solidFill>
                  <a:srgbClr val="545353"/>
                </a:solidFill>
                <a:latin typeface="+mj-lt"/>
              </a:rPr>
              <a:t>The current structure of the page excludes an organization that caters to a type of user with less specific search needs.</a:t>
            </a:r>
            <a:endParaRPr lang="es-CO" sz="1100" dirty="0">
              <a:solidFill>
                <a:srgbClr val="545353"/>
              </a:solidFill>
              <a:latin typeface="+mj-lt"/>
            </a:endParaRPr>
          </a:p>
        </p:txBody>
      </p:sp>
      <p:pic>
        <p:nvPicPr>
          <p:cNvPr id="102" name="202404171202-_1_">
            <a:hlinkClick r:id="" action="ppaction://media"/>
            <a:extLst>
              <a:ext uri="{FF2B5EF4-FFF2-40B4-BE49-F238E27FC236}">
                <a16:creationId xmlns:a16="http://schemas.microsoft.com/office/drawing/2014/main" id="{80C09915-ED25-8E80-5FF5-857168297D87}"/>
              </a:ext>
            </a:extLst>
          </p:cNvPr>
          <p:cNvPicPr>
            <a:picLocks noChangeAspect="1"/>
          </p:cNvPicPr>
          <p:nvPr>
            <a:audioFile r:link="rId1"/>
            <p:extLst>
              <p:ext uri="{DAA4B4D4-6D71-4841-9C94-3DE7FCFB9230}">
                <p14:media xmlns:p14="http://schemas.microsoft.com/office/powerpoint/2010/main" r:embed="rId2">
                  <p14:trim st="1884" end="102774.2857"/>
                </p14:media>
              </p:ext>
            </p:extLst>
          </p:nvPr>
        </p:nvPicPr>
        <p:blipFill>
          <a:blip r:embed="rId13"/>
          <a:stretch>
            <a:fillRect/>
          </a:stretch>
        </p:blipFill>
        <p:spPr>
          <a:xfrm>
            <a:off x="11554524" y="1117273"/>
            <a:ext cx="288000" cy="288000"/>
          </a:xfrm>
          <a:prstGeom prst="rect">
            <a:avLst/>
          </a:prstGeom>
        </p:spPr>
      </p:pic>
      <p:pic>
        <p:nvPicPr>
          <p:cNvPr id="103" name="202404171202-_3_">
            <a:hlinkClick r:id="" action="ppaction://media"/>
            <a:extLst>
              <a:ext uri="{FF2B5EF4-FFF2-40B4-BE49-F238E27FC236}">
                <a16:creationId xmlns:a16="http://schemas.microsoft.com/office/drawing/2014/main" id="{BDDCFB24-6BD0-1D97-FC04-68A401EF023B}"/>
              </a:ext>
            </a:extLst>
          </p:cNvPr>
          <p:cNvPicPr>
            <a:picLocks noChangeAspect="1"/>
          </p:cNvPicPr>
          <p:nvPr>
            <a:audioFile r:link="rId1"/>
            <p:extLst>
              <p:ext uri="{DAA4B4D4-6D71-4841-9C94-3DE7FCFB9230}">
                <p14:media xmlns:p14="http://schemas.microsoft.com/office/powerpoint/2010/main" r:embed="rId3">
                  <p14:trim st="44000" end="58116.3877"/>
                </p14:media>
              </p:ext>
            </p:extLst>
          </p:nvPr>
        </p:nvPicPr>
        <p:blipFill>
          <a:blip r:embed="rId13"/>
          <a:stretch>
            <a:fillRect/>
          </a:stretch>
        </p:blipFill>
        <p:spPr>
          <a:xfrm>
            <a:off x="11554524" y="3978985"/>
            <a:ext cx="288000" cy="288000"/>
          </a:xfrm>
          <a:prstGeom prst="rect">
            <a:avLst/>
          </a:prstGeom>
        </p:spPr>
      </p:pic>
      <p:pic>
        <p:nvPicPr>
          <p:cNvPr id="105" name="202404171556-_1_">
            <a:hlinkClick r:id="" action="ppaction://media"/>
            <a:extLst>
              <a:ext uri="{FF2B5EF4-FFF2-40B4-BE49-F238E27FC236}">
                <a16:creationId xmlns:a16="http://schemas.microsoft.com/office/drawing/2014/main" id="{51D675D2-6127-21B0-366B-09F8815CD703}"/>
              </a:ext>
            </a:extLst>
          </p:cNvPr>
          <p:cNvPicPr>
            <a:picLocks noChangeAspect="1"/>
          </p:cNvPicPr>
          <p:nvPr>
            <a:audioFile r:link="rId1"/>
            <p:extLst>
              <p:ext uri="{DAA4B4D4-6D71-4841-9C94-3DE7FCFB9230}">
                <p14:media xmlns:p14="http://schemas.microsoft.com/office/powerpoint/2010/main" r:embed="rId4">
                  <p14:trim st="45000" end="49199.1836"/>
                </p14:media>
              </p:ext>
            </p:extLst>
          </p:nvPr>
        </p:nvPicPr>
        <p:blipFill>
          <a:blip r:embed="rId13"/>
          <a:stretch>
            <a:fillRect/>
          </a:stretch>
        </p:blipFill>
        <p:spPr>
          <a:xfrm>
            <a:off x="11584332" y="1646880"/>
            <a:ext cx="288000" cy="288000"/>
          </a:xfrm>
          <a:prstGeom prst="rect">
            <a:avLst/>
          </a:prstGeom>
        </p:spPr>
      </p:pic>
      <p:pic>
        <p:nvPicPr>
          <p:cNvPr id="106" name="202404171556-_2_">
            <a:hlinkClick r:id="" action="ppaction://media"/>
            <a:extLst>
              <a:ext uri="{FF2B5EF4-FFF2-40B4-BE49-F238E27FC236}">
                <a16:creationId xmlns:a16="http://schemas.microsoft.com/office/drawing/2014/main" id="{42AB5B0B-FE2F-6F45-42BE-E3ACF62DCF29}"/>
              </a:ext>
            </a:extLst>
          </p:cNvPr>
          <p:cNvPicPr>
            <a:picLocks noChangeAspect="1"/>
          </p:cNvPicPr>
          <p:nvPr>
            <a:audioFile r:link="rId1"/>
            <p:extLst>
              <p:ext uri="{DAA4B4D4-6D71-4841-9C94-3DE7FCFB9230}">
                <p14:media xmlns:p14="http://schemas.microsoft.com/office/powerpoint/2010/main" r:embed="rId5">
                  <p14:trim st="60720" end="32521.7959"/>
                </p14:media>
              </p:ext>
            </p:extLst>
          </p:nvPr>
        </p:nvPicPr>
        <p:blipFill>
          <a:blip r:embed="rId13"/>
          <a:stretch>
            <a:fillRect/>
          </a:stretch>
        </p:blipFill>
        <p:spPr>
          <a:xfrm>
            <a:off x="11554524" y="3449117"/>
            <a:ext cx="288000" cy="288000"/>
          </a:xfrm>
          <a:prstGeom prst="rect">
            <a:avLst/>
          </a:prstGeom>
        </p:spPr>
      </p:pic>
      <p:pic>
        <p:nvPicPr>
          <p:cNvPr id="108" name="202404171638-_1_">
            <a:hlinkClick r:id="" action="ppaction://media"/>
            <a:extLst>
              <a:ext uri="{FF2B5EF4-FFF2-40B4-BE49-F238E27FC236}">
                <a16:creationId xmlns:a16="http://schemas.microsoft.com/office/drawing/2014/main" id="{51F061D0-78DB-DF28-5C90-342F1872A9F0}"/>
              </a:ext>
            </a:extLst>
          </p:cNvPr>
          <p:cNvPicPr>
            <a:picLocks noChangeAspect="1"/>
          </p:cNvPicPr>
          <p:nvPr>
            <a:audioFile r:link="rId1"/>
            <p:extLst>
              <p:ext uri="{DAA4B4D4-6D71-4841-9C94-3DE7FCFB9230}">
                <p14:media xmlns:p14="http://schemas.microsoft.com/office/powerpoint/2010/main" r:embed="rId6">
                  <p14:trim st="30000" end="72647.4897"/>
                </p14:media>
              </p:ext>
            </p:extLst>
          </p:nvPr>
        </p:nvPicPr>
        <p:blipFill>
          <a:blip r:embed="rId13"/>
          <a:stretch>
            <a:fillRect/>
          </a:stretch>
        </p:blipFill>
        <p:spPr>
          <a:xfrm>
            <a:off x="11590687" y="2167112"/>
            <a:ext cx="288000" cy="288000"/>
          </a:xfrm>
          <a:prstGeom prst="rect">
            <a:avLst/>
          </a:prstGeom>
        </p:spPr>
      </p:pic>
      <p:pic>
        <p:nvPicPr>
          <p:cNvPr id="110" name="202404171643-_1_">
            <a:hlinkClick r:id="" action="ppaction://media"/>
            <a:extLst>
              <a:ext uri="{FF2B5EF4-FFF2-40B4-BE49-F238E27FC236}">
                <a16:creationId xmlns:a16="http://schemas.microsoft.com/office/drawing/2014/main" id="{87E44D70-A101-2472-71CA-0384CF46BA0E}"/>
              </a:ext>
            </a:extLst>
          </p:cNvPr>
          <p:cNvPicPr>
            <a:picLocks noChangeAspect="1"/>
          </p:cNvPicPr>
          <p:nvPr>
            <a:audioFile r:link="rId1"/>
            <p:extLst>
              <p:ext uri="{DAA4B4D4-6D71-4841-9C94-3DE7FCFB9230}">
                <p14:media xmlns:p14="http://schemas.microsoft.com/office/powerpoint/2010/main" r:embed="rId7">
                  <p14:trim st="55348" end="26912.2448"/>
                </p14:media>
              </p:ext>
            </p:extLst>
          </p:nvPr>
        </p:nvPicPr>
        <p:blipFill>
          <a:blip r:embed="rId13"/>
          <a:stretch>
            <a:fillRect/>
          </a:stretch>
        </p:blipFill>
        <p:spPr>
          <a:xfrm>
            <a:off x="11554524" y="5316498"/>
            <a:ext cx="288000" cy="288000"/>
          </a:xfrm>
          <a:prstGeom prst="rect">
            <a:avLst/>
          </a:prstGeom>
        </p:spPr>
      </p:pic>
      <p:pic>
        <p:nvPicPr>
          <p:cNvPr id="2" name="Picture 2" descr="Global Property Management Group Odevo Continues U.S. Expansion With ...">
            <a:extLst>
              <a:ext uri="{FF2B5EF4-FFF2-40B4-BE49-F238E27FC236}">
                <a16:creationId xmlns:a16="http://schemas.microsoft.com/office/drawing/2014/main" id="{3941705F-59E4-EB40-0E2C-7022ECE1B2E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C4EA952-3C71-BCD4-2ABD-993EA04A4843}"/>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Interview results for a furniture and home decor company</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5" name="Rectángulo 4">
            <a:extLst>
              <a:ext uri="{FF2B5EF4-FFF2-40B4-BE49-F238E27FC236}">
                <a16:creationId xmlns:a16="http://schemas.microsoft.com/office/drawing/2014/main" id="{22B83E2E-072C-37BE-917E-38106AA9AE97}"/>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10" name="Rectángulo 9">
            <a:extLst>
              <a:ext uri="{FF2B5EF4-FFF2-40B4-BE49-F238E27FC236}">
                <a16:creationId xmlns:a16="http://schemas.microsoft.com/office/drawing/2014/main" id="{1396DD86-7161-5172-F809-24B448C1C193}"/>
              </a:ext>
            </a:extLst>
          </p:cNvPr>
          <p:cNvSpPr/>
          <p:nvPr/>
        </p:nvSpPr>
        <p:spPr>
          <a:xfrm>
            <a:off x="3876188" y="2117699"/>
            <a:ext cx="1048897" cy="2466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3" name="Rectángulo 12">
            <a:extLst>
              <a:ext uri="{FF2B5EF4-FFF2-40B4-BE49-F238E27FC236}">
                <a16:creationId xmlns:a16="http://schemas.microsoft.com/office/drawing/2014/main" id="{61B824D7-36BB-AEB9-C4FC-EDB243A957EB}"/>
              </a:ext>
            </a:extLst>
          </p:cNvPr>
          <p:cNvSpPr/>
          <p:nvPr/>
        </p:nvSpPr>
        <p:spPr>
          <a:xfrm>
            <a:off x="5058867" y="2064762"/>
            <a:ext cx="1943177" cy="3903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2" name="CuadroTexto 11">
            <a:extLst>
              <a:ext uri="{FF2B5EF4-FFF2-40B4-BE49-F238E27FC236}">
                <a16:creationId xmlns:a16="http://schemas.microsoft.com/office/drawing/2014/main" id="{812CBC63-4DD1-7214-1238-013CF16B8FF5}"/>
              </a:ext>
            </a:extLst>
          </p:cNvPr>
          <p:cNvSpPr txBox="1"/>
          <p:nvPr/>
        </p:nvSpPr>
        <p:spPr>
          <a:xfrm>
            <a:off x="4085777" y="2218170"/>
            <a:ext cx="965765" cy="200055"/>
          </a:xfrm>
          <a:prstGeom prst="rect">
            <a:avLst/>
          </a:prstGeom>
          <a:noFill/>
        </p:spPr>
        <p:txBody>
          <a:bodyPr wrap="square" rtlCol="0">
            <a:spAutoFit/>
          </a:bodyPr>
          <a:lstStyle/>
          <a:p>
            <a:r>
              <a:rPr lang="en-US" sz="700" dirty="0">
                <a:solidFill>
                  <a:srgbClr val="545353"/>
                </a:solidFill>
                <a:latin typeface="+mj-lt"/>
              </a:rPr>
              <a:t>Furniture</a:t>
            </a:r>
          </a:p>
        </p:txBody>
      </p:sp>
      <p:sp>
        <p:nvSpPr>
          <p:cNvPr id="35" name="Rectángulo 34">
            <a:extLst>
              <a:ext uri="{FF2B5EF4-FFF2-40B4-BE49-F238E27FC236}">
                <a16:creationId xmlns:a16="http://schemas.microsoft.com/office/drawing/2014/main" id="{2A0E9C8D-9FE4-98F6-285B-C0F0777998E7}"/>
              </a:ext>
            </a:extLst>
          </p:cNvPr>
          <p:cNvSpPr/>
          <p:nvPr/>
        </p:nvSpPr>
        <p:spPr>
          <a:xfrm>
            <a:off x="3996713" y="3929450"/>
            <a:ext cx="3076816" cy="2933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25" name="CuadroTexto 24">
            <a:extLst>
              <a:ext uri="{FF2B5EF4-FFF2-40B4-BE49-F238E27FC236}">
                <a16:creationId xmlns:a16="http://schemas.microsoft.com/office/drawing/2014/main" id="{8CAFEBF4-4362-B562-C8D6-87F9109A22EF}"/>
              </a:ext>
            </a:extLst>
          </p:cNvPr>
          <p:cNvSpPr txBox="1"/>
          <p:nvPr/>
        </p:nvSpPr>
        <p:spPr>
          <a:xfrm>
            <a:off x="3990255" y="3997892"/>
            <a:ext cx="965765" cy="200055"/>
          </a:xfrm>
          <a:prstGeom prst="rect">
            <a:avLst/>
          </a:prstGeom>
          <a:noFill/>
        </p:spPr>
        <p:txBody>
          <a:bodyPr wrap="square" rtlCol="0">
            <a:spAutoFit/>
          </a:bodyPr>
          <a:lstStyle/>
          <a:p>
            <a:r>
              <a:rPr lang="en-US" sz="700" dirty="0">
                <a:solidFill>
                  <a:srgbClr val="545353"/>
                </a:solidFill>
                <a:latin typeface="+mj-lt"/>
              </a:rPr>
              <a:t>Living room</a:t>
            </a:r>
          </a:p>
        </p:txBody>
      </p:sp>
      <p:sp>
        <p:nvSpPr>
          <p:cNvPr id="28" name="CuadroTexto 27">
            <a:extLst>
              <a:ext uri="{FF2B5EF4-FFF2-40B4-BE49-F238E27FC236}">
                <a16:creationId xmlns:a16="http://schemas.microsoft.com/office/drawing/2014/main" id="{8F8C7059-DAD2-EA49-DA29-ACEFC3483406}"/>
              </a:ext>
            </a:extLst>
          </p:cNvPr>
          <p:cNvSpPr txBox="1"/>
          <p:nvPr/>
        </p:nvSpPr>
        <p:spPr>
          <a:xfrm>
            <a:off x="5047103" y="3997892"/>
            <a:ext cx="965765" cy="200055"/>
          </a:xfrm>
          <a:prstGeom prst="rect">
            <a:avLst/>
          </a:prstGeom>
          <a:noFill/>
        </p:spPr>
        <p:txBody>
          <a:bodyPr wrap="square" rtlCol="0">
            <a:spAutoFit/>
          </a:bodyPr>
          <a:lstStyle/>
          <a:p>
            <a:r>
              <a:rPr lang="en-US" sz="700" dirty="0">
                <a:solidFill>
                  <a:srgbClr val="545353"/>
                </a:solidFill>
                <a:latin typeface="+mj-lt"/>
              </a:rPr>
              <a:t>Dining room</a:t>
            </a:r>
          </a:p>
        </p:txBody>
      </p:sp>
      <p:sp>
        <p:nvSpPr>
          <p:cNvPr id="29" name="CuadroTexto 28">
            <a:extLst>
              <a:ext uri="{FF2B5EF4-FFF2-40B4-BE49-F238E27FC236}">
                <a16:creationId xmlns:a16="http://schemas.microsoft.com/office/drawing/2014/main" id="{FD18B9EF-AC56-1CA8-E5EB-276211C98948}"/>
              </a:ext>
            </a:extLst>
          </p:cNvPr>
          <p:cNvSpPr txBox="1"/>
          <p:nvPr/>
        </p:nvSpPr>
        <p:spPr>
          <a:xfrm>
            <a:off x="6160437" y="3997892"/>
            <a:ext cx="965765" cy="200055"/>
          </a:xfrm>
          <a:prstGeom prst="rect">
            <a:avLst/>
          </a:prstGeom>
          <a:noFill/>
        </p:spPr>
        <p:txBody>
          <a:bodyPr wrap="square" rtlCol="0">
            <a:spAutoFit/>
          </a:bodyPr>
          <a:lstStyle/>
          <a:p>
            <a:r>
              <a:rPr lang="en-US" sz="700" dirty="0">
                <a:solidFill>
                  <a:srgbClr val="545353"/>
                </a:solidFill>
                <a:latin typeface="+mj-lt"/>
              </a:rPr>
              <a:t>Outdoors</a:t>
            </a:r>
          </a:p>
        </p:txBody>
      </p:sp>
      <p:sp>
        <p:nvSpPr>
          <p:cNvPr id="37" name="Rectángulo 36">
            <a:extLst>
              <a:ext uri="{FF2B5EF4-FFF2-40B4-BE49-F238E27FC236}">
                <a16:creationId xmlns:a16="http://schemas.microsoft.com/office/drawing/2014/main" id="{24D5DEB3-0CEE-3EAB-3DDA-E245E64481BE}"/>
              </a:ext>
            </a:extLst>
          </p:cNvPr>
          <p:cNvSpPr/>
          <p:nvPr/>
        </p:nvSpPr>
        <p:spPr>
          <a:xfrm>
            <a:off x="4033217" y="5757319"/>
            <a:ext cx="3076816" cy="2933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1" name="CuadroTexto 10">
            <a:extLst>
              <a:ext uri="{FF2B5EF4-FFF2-40B4-BE49-F238E27FC236}">
                <a16:creationId xmlns:a16="http://schemas.microsoft.com/office/drawing/2014/main" id="{87D752F0-3CF1-C9B3-D857-D45059A5A23D}"/>
              </a:ext>
            </a:extLst>
          </p:cNvPr>
          <p:cNvSpPr txBox="1"/>
          <p:nvPr/>
        </p:nvSpPr>
        <p:spPr>
          <a:xfrm>
            <a:off x="5135445" y="2128214"/>
            <a:ext cx="965765" cy="307777"/>
          </a:xfrm>
          <a:prstGeom prst="rect">
            <a:avLst/>
          </a:prstGeom>
          <a:noFill/>
        </p:spPr>
        <p:txBody>
          <a:bodyPr wrap="square" rtlCol="0">
            <a:spAutoFit/>
          </a:bodyPr>
          <a:lstStyle/>
          <a:p>
            <a:r>
              <a:rPr lang="en-US" sz="700" dirty="0">
                <a:solidFill>
                  <a:srgbClr val="545353"/>
                </a:solidFill>
                <a:latin typeface="+mj-lt"/>
              </a:rPr>
              <a:t>Armchairs and chaise </a:t>
            </a:r>
            <a:r>
              <a:rPr lang="en-US" sz="700" dirty="0" err="1">
                <a:solidFill>
                  <a:srgbClr val="545353"/>
                </a:solidFill>
                <a:latin typeface="+mj-lt"/>
              </a:rPr>
              <a:t>longes</a:t>
            </a:r>
            <a:endParaRPr lang="en-US" sz="700" dirty="0">
              <a:solidFill>
                <a:srgbClr val="545353"/>
              </a:solidFill>
              <a:latin typeface="+mj-lt"/>
            </a:endParaRPr>
          </a:p>
        </p:txBody>
      </p:sp>
      <p:sp>
        <p:nvSpPr>
          <p:cNvPr id="14" name="CuadroTexto 13">
            <a:extLst>
              <a:ext uri="{FF2B5EF4-FFF2-40B4-BE49-F238E27FC236}">
                <a16:creationId xmlns:a16="http://schemas.microsoft.com/office/drawing/2014/main" id="{5AD22FC7-A787-810A-1465-56CC849AF86D}"/>
              </a:ext>
            </a:extLst>
          </p:cNvPr>
          <p:cNvSpPr txBox="1"/>
          <p:nvPr/>
        </p:nvSpPr>
        <p:spPr>
          <a:xfrm>
            <a:off x="6234221" y="2153593"/>
            <a:ext cx="965765" cy="200055"/>
          </a:xfrm>
          <a:prstGeom prst="rect">
            <a:avLst/>
          </a:prstGeom>
          <a:noFill/>
        </p:spPr>
        <p:txBody>
          <a:bodyPr wrap="square" rtlCol="0">
            <a:spAutoFit/>
          </a:bodyPr>
          <a:lstStyle/>
          <a:p>
            <a:r>
              <a:rPr lang="en-US" sz="700" dirty="0">
                <a:solidFill>
                  <a:srgbClr val="545353"/>
                </a:solidFill>
                <a:latin typeface="+mj-lt"/>
              </a:rPr>
              <a:t>Sofas</a:t>
            </a:r>
          </a:p>
        </p:txBody>
      </p:sp>
      <p:sp>
        <p:nvSpPr>
          <p:cNvPr id="31" name="CuadroTexto 30">
            <a:extLst>
              <a:ext uri="{FF2B5EF4-FFF2-40B4-BE49-F238E27FC236}">
                <a16:creationId xmlns:a16="http://schemas.microsoft.com/office/drawing/2014/main" id="{33BB797D-8D8E-14D8-5480-A0153265E544}"/>
              </a:ext>
            </a:extLst>
          </p:cNvPr>
          <p:cNvSpPr txBox="1"/>
          <p:nvPr/>
        </p:nvSpPr>
        <p:spPr>
          <a:xfrm>
            <a:off x="4956020" y="5757319"/>
            <a:ext cx="965765" cy="307777"/>
          </a:xfrm>
          <a:prstGeom prst="rect">
            <a:avLst/>
          </a:prstGeom>
          <a:noFill/>
        </p:spPr>
        <p:txBody>
          <a:bodyPr wrap="square" rtlCol="0">
            <a:spAutoFit/>
          </a:bodyPr>
          <a:lstStyle/>
          <a:p>
            <a:r>
              <a:rPr lang="en-US" sz="700" dirty="0">
                <a:solidFill>
                  <a:srgbClr val="545353"/>
                </a:solidFill>
                <a:latin typeface="+mj-lt"/>
              </a:rPr>
              <a:t>Storage and organization</a:t>
            </a:r>
          </a:p>
        </p:txBody>
      </p:sp>
      <p:sp>
        <p:nvSpPr>
          <p:cNvPr id="34" name="CuadroTexto 33">
            <a:extLst>
              <a:ext uri="{FF2B5EF4-FFF2-40B4-BE49-F238E27FC236}">
                <a16:creationId xmlns:a16="http://schemas.microsoft.com/office/drawing/2014/main" id="{74A190BC-1255-A060-9F35-EF17D8511602}"/>
              </a:ext>
            </a:extLst>
          </p:cNvPr>
          <p:cNvSpPr txBox="1"/>
          <p:nvPr/>
        </p:nvSpPr>
        <p:spPr>
          <a:xfrm>
            <a:off x="6036279" y="5757319"/>
            <a:ext cx="965765" cy="307777"/>
          </a:xfrm>
          <a:prstGeom prst="rect">
            <a:avLst/>
          </a:prstGeom>
          <a:noFill/>
        </p:spPr>
        <p:txBody>
          <a:bodyPr wrap="square" rtlCol="0">
            <a:spAutoFit/>
          </a:bodyPr>
          <a:lstStyle/>
          <a:p>
            <a:r>
              <a:rPr lang="en-US" sz="700" dirty="0">
                <a:solidFill>
                  <a:srgbClr val="545353"/>
                </a:solidFill>
                <a:latin typeface="+mj-lt"/>
              </a:rPr>
              <a:t>Beds and </a:t>
            </a:r>
            <a:r>
              <a:rPr lang="en-US" sz="700" dirty="0" err="1">
                <a:solidFill>
                  <a:srgbClr val="545353"/>
                </a:solidFill>
                <a:latin typeface="+mj-lt"/>
              </a:rPr>
              <a:t>matresses</a:t>
            </a:r>
            <a:endParaRPr lang="en-US" sz="700" dirty="0">
              <a:solidFill>
                <a:srgbClr val="545353"/>
              </a:solidFill>
              <a:latin typeface="+mj-lt"/>
            </a:endParaRPr>
          </a:p>
        </p:txBody>
      </p:sp>
      <p:sp>
        <p:nvSpPr>
          <p:cNvPr id="38" name="CuadroTexto 37">
            <a:extLst>
              <a:ext uri="{FF2B5EF4-FFF2-40B4-BE49-F238E27FC236}">
                <a16:creationId xmlns:a16="http://schemas.microsoft.com/office/drawing/2014/main" id="{6942A9E1-5317-A180-5D52-58492D6782A3}"/>
              </a:ext>
            </a:extLst>
          </p:cNvPr>
          <p:cNvSpPr txBox="1"/>
          <p:nvPr/>
        </p:nvSpPr>
        <p:spPr>
          <a:xfrm>
            <a:off x="4062201" y="5829576"/>
            <a:ext cx="965765" cy="200055"/>
          </a:xfrm>
          <a:prstGeom prst="rect">
            <a:avLst/>
          </a:prstGeom>
          <a:noFill/>
        </p:spPr>
        <p:txBody>
          <a:bodyPr wrap="square" rtlCol="0">
            <a:spAutoFit/>
          </a:bodyPr>
          <a:lstStyle/>
          <a:p>
            <a:r>
              <a:rPr lang="en-US" sz="700" dirty="0">
                <a:solidFill>
                  <a:srgbClr val="545353"/>
                </a:solidFill>
                <a:latin typeface="+mj-lt"/>
              </a:rPr>
              <a:t>Furniture</a:t>
            </a:r>
          </a:p>
        </p:txBody>
      </p:sp>
      <p:sp>
        <p:nvSpPr>
          <p:cNvPr id="7" name="TextBox 6">
            <a:extLst>
              <a:ext uri="{FF2B5EF4-FFF2-40B4-BE49-F238E27FC236}">
                <a16:creationId xmlns:a16="http://schemas.microsoft.com/office/drawing/2014/main" id="{8321ABED-EC14-6928-031C-2CB6E59A7369}"/>
              </a:ext>
            </a:extLst>
          </p:cNvPr>
          <p:cNvSpPr txBox="1"/>
          <p:nvPr/>
        </p:nvSpPr>
        <p:spPr>
          <a:xfrm>
            <a:off x="8839185" y="65276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9" name="Group 8">
            <a:extLst>
              <a:ext uri="{FF2B5EF4-FFF2-40B4-BE49-F238E27FC236}">
                <a16:creationId xmlns:a16="http://schemas.microsoft.com/office/drawing/2014/main" id="{67BCDF63-8DD6-3E52-F2ED-9046B430A43D}"/>
              </a:ext>
            </a:extLst>
          </p:cNvPr>
          <p:cNvGrpSpPr/>
          <p:nvPr/>
        </p:nvGrpSpPr>
        <p:grpSpPr>
          <a:xfrm>
            <a:off x="8853188" y="658109"/>
            <a:ext cx="3141553" cy="266640"/>
            <a:chOff x="8853189" y="1020059"/>
            <a:chExt cx="888390" cy="235526"/>
          </a:xfrm>
        </p:grpSpPr>
        <p:cxnSp>
          <p:nvCxnSpPr>
            <p:cNvPr id="39" name="Straight Connector 38">
              <a:extLst>
                <a:ext uri="{FF2B5EF4-FFF2-40B4-BE49-F238E27FC236}">
                  <a16:creationId xmlns:a16="http://schemas.microsoft.com/office/drawing/2014/main" id="{B010F874-EFD4-B99D-7B5D-E12D98A09CED}"/>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44BBCBA-14DE-91BB-B761-CC4EA5B9D09D}"/>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386624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0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7033" fill="hold"/>
                                        <p:tgtEl>
                                          <p:spTgt spid="103"/>
                                        </p:tgtEl>
                                      </p:cBhvr>
                                    </p:cmd>
                                  </p:childTnLst>
                                </p:cTn>
                              </p:par>
                            </p:childTnLst>
                          </p:cTn>
                        </p:par>
                      </p:childTnLst>
                    </p:cTn>
                  </p:par>
                </p:childTnLst>
              </p:cTn>
              <p:nextCondLst>
                <p:cond evt="onClick" delay="0">
                  <p:tgtEl>
                    <p:spTgt spid="103"/>
                  </p:tgtEl>
                </p:cond>
              </p:nextCondLst>
            </p:seq>
            <p:audio>
              <p:cMediaNode vol="80000">
                <p:cTn id="7" fill="hold" display="0">
                  <p:stCondLst>
                    <p:cond delay="indefinite"/>
                  </p:stCondLst>
                  <p:endCondLst>
                    <p:cond evt="onStopAudio" delay="0">
                      <p:tgtEl>
                        <p:sldTgt/>
                      </p:tgtEl>
                    </p:cond>
                  </p:endCondLst>
                </p:cTn>
                <p:tgtEl>
                  <p:spTgt spid="103"/>
                </p:tgtEl>
              </p:cMediaNode>
            </p:audio>
            <p:seq concurrent="1" nextAc="seek">
              <p:cTn id="8" restart="whenNotActive" fill="hold" evtFilter="cancelBubble" nodeType="interactiveSeq">
                <p:stCondLst>
                  <p:cond evt="onClick" delay="0">
                    <p:tgtEl>
                      <p:spTgt spid="102"/>
                    </p:tgtEl>
                  </p:cond>
                </p:stCondLst>
                <p:endSync evt="end" delay="0">
                  <p:rtn val="all"/>
                </p:endSync>
                <p:childTnLst>
                  <p:par>
                    <p:cTn id="9" fill="hold">
                      <p:stCondLst>
                        <p:cond delay="0"/>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26816" fill="hold"/>
                                        <p:tgtEl>
                                          <p:spTgt spid="102"/>
                                        </p:tgtEl>
                                      </p:cBhvr>
                                    </p:cmd>
                                  </p:childTnLst>
                                </p:cTn>
                              </p:par>
                            </p:childTnLst>
                          </p:cTn>
                        </p:par>
                      </p:childTnLst>
                    </p:cTn>
                  </p:par>
                </p:childTnLst>
              </p:cTn>
              <p:nextCondLst>
                <p:cond evt="onClick" delay="0">
                  <p:tgtEl>
                    <p:spTgt spid="102"/>
                  </p:tgtEl>
                </p:cond>
              </p:nextCondLst>
            </p:seq>
            <p:audio>
              <p:cMediaNode vol="80000">
                <p:cTn id="13" fill="hold" display="0">
                  <p:stCondLst>
                    <p:cond delay="indefinite"/>
                  </p:stCondLst>
                  <p:endCondLst>
                    <p:cond evt="onStopAudio" delay="0">
                      <p:tgtEl>
                        <p:sldTgt/>
                      </p:tgtEl>
                    </p:cond>
                  </p:endCondLst>
                </p:cTn>
                <p:tgtEl>
                  <p:spTgt spid="102"/>
                </p:tgtEl>
              </p:cMediaNode>
            </p:audio>
            <p:seq concurrent="1" nextAc="seek">
              <p:cTn id="14" restart="whenNotActive" fill="hold" evtFilter="cancelBubble" nodeType="interactiveSeq">
                <p:stCondLst>
                  <p:cond evt="onClick" delay="0">
                    <p:tgtEl>
                      <p:spTgt spid="105"/>
                    </p:tgtEl>
                  </p:cond>
                </p:stCondLst>
                <p:endSync evt="end" delay="0">
                  <p:rtn val="all"/>
                </p:endSync>
                <p:childTnLst>
                  <p:par>
                    <p:cTn id="15" fill="hold">
                      <p:stCondLst>
                        <p:cond delay="0"/>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46000" fill="hold"/>
                                        <p:tgtEl>
                                          <p:spTgt spid="105"/>
                                        </p:tgtEl>
                                      </p:cBhvr>
                                    </p:cmd>
                                  </p:childTnLst>
                                </p:cTn>
                              </p:par>
                            </p:childTnLst>
                          </p:cTn>
                        </p:par>
                      </p:childTnLst>
                    </p:cTn>
                  </p:par>
                </p:childTnLst>
              </p:cTn>
              <p:nextCondLst>
                <p:cond evt="onClick" delay="0">
                  <p:tgtEl>
                    <p:spTgt spid="105"/>
                  </p:tgtEl>
                </p:cond>
              </p:nextCondLst>
            </p:seq>
            <p:audio>
              <p:cMediaNode vol="80000">
                <p:cTn id="19" fill="hold" display="0">
                  <p:stCondLst>
                    <p:cond delay="indefinite"/>
                  </p:stCondLst>
                  <p:endCondLst>
                    <p:cond evt="onStopAudio" delay="0">
                      <p:tgtEl>
                        <p:sldTgt/>
                      </p:tgtEl>
                    </p:cond>
                  </p:endCondLst>
                </p:cTn>
                <p:tgtEl>
                  <p:spTgt spid="105"/>
                </p:tgtEl>
              </p:cMediaNode>
            </p:audio>
            <p:seq concurrent="1" nextAc="seek">
              <p:cTn id="20" restart="whenNotActive" fill="hold" evtFilter="cancelBubble" nodeType="interactiveSeq">
                <p:stCondLst>
                  <p:cond evt="onClick" delay="0">
                    <p:tgtEl>
                      <p:spTgt spid="106"/>
                    </p:tgtEl>
                  </p:cond>
                </p:stCondLst>
                <p:endSync evt="end" delay="0">
                  <p:rtn val="all"/>
                </p:endSync>
                <p:childTnLst>
                  <p:par>
                    <p:cTn id="21" fill="hold">
                      <p:stCondLst>
                        <p:cond delay="0"/>
                      </p:stCondLst>
                      <p:childTnLst>
                        <p:par>
                          <p:cTn id="22" fill="hold">
                            <p:stCondLst>
                              <p:cond delay="0"/>
                            </p:stCondLst>
                            <p:childTnLst>
                              <p:par>
                                <p:cTn id="23" presetID="1" presetClass="mediacall" presetSubtype="0" fill="hold" nodeType="clickEffect">
                                  <p:stCondLst>
                                    <p:cond delay="0"/>
                                  </p:stCondLst>
                                  <p:childTnLst>
                                    <p:cmd type="call" cmd="playFrom(0.0)">
                                      <p:cBhvr>
                                        <p:cTn id="24" dur="34288" fill="hold"/>
                                        <p:tgtEl>
                                          <p:spTgt spid="106"/>
                                        </p:tgtEl>
                                      </p:cBhvr>
                                    </p:cmd>
                                  </p:childTnLst>
                                </p:cTn>
                              </p:par>
                            </p:childTnLst>
                          </p:cTn>
                        </p:par>
                      </p:childTnLst>
                    </p:cTn>
                  </p:par>
                </p:childTnLst>
              </p:cTn>
              <p:nextCondLst>
                <p:cond evt="onClick" delay="0">
                  <p:tgtEl>
                    <p:spTgt spid="106"/>
                  </p:tgtEl>
                </p:cond>
              </p:nextCondLst>
            </p:seq>
            <p:audio>
              <p:cMediaNode vol="80000">
                <p:cTn id="25" fill="hold" display="0">
                  <p:stCondLst>
                    <p:cond delay="indefinite"/>
                  </p:stCondLst>
                  <p:endCondLst>
                    <p:cond evt="onStopAudio" delay="0">
                      <p:tgtEl>
                        <p:sldTgt/>
                      </p:tgtEl>
                    </p:cond>
                  </p:endCondLst>
                </p:cTn>
                <p:tgtEl>
                  <p:spTgt spid="106"/>
                </p:tgtEl>
              </p:cMediaNode>
            </p:audio>
            <p:seq concurrent="1" nextAc="seek">
              <p:cTn id="26" restart="whenNotActive" fill="hold" evtFilter="cancelBubble" nodeType="interactiveSeq">
                <p:stCondLst>
                  <p:cond evt="onClick" delay="0">
                    <p:tgtEl>
                      <p:spTgt spid="108"/>
                    </p:tgtEl>
                  </p:cond>
                </p:stCondLst>
                <p:endSync evt="end" delay="0">
                  <p:rtn val="all"/>
                </p:endSync>
                <p:childTnLst>
                  <p:par>
                    <p:cTn id="27" fill="hold">
                      <p:stCondLst>
                        <p:cond delay="0"/>
                      </p:stCondLst>
                      <p:childTnLst>
                        <p:par>
                          <p:cTn id="28" fill="hold">
                            <p:stCondLst>
                              <p:cond delay="0"/>
                            </p:stCondLst>
                            <p:childTnLst>
                              <p:par>
                                <p:cTn id="29" presetID="1" presetClass="mediacall" presetSubtype="0" fill="hold" nodeType="clickEffect">
                                  <p:stCondLst>
                                    <p:cond delay="0"/>
                                  </p:stCondLst>
                                  <p:childTnLst>
                                    <p:cmd type="call" cmd="playFrom(0.0)">
                                      <p:cBhvr>
                                        <p:cTn id="30" dur="30577" fill="hold"/>
                                        <p:tgtEl>
                                          <p:spTgt spid="108"/>
                                        </p:tgtEl>
                                      </p:cBhvr>
                                    </p:cmd>
                                  </p:childTnLst>
                                </p:cTn>
                              </p:par>
                            </p:childTnLst>
                          </p:cTn>
                        </p:par>
                      </p:childTnLst>
                    </p:cTn>
                  </p:par>
                </p:childTnLst>
              </p:cTn>
              <p:nextCondLst>
                <p:cond evt="onClick" delay="0">
                  <p:tgtEl>
                    <p:spTgt spid="108"/>
                  </p:tgtEl>
                </p:cond>
              </p:nextCondLst>
            </p:seq>
            <p:audio>
              <p:cMediaNode vol="80000">
                <p:cTn id="31" fill="hold" display="0">
                  <p:stCondLst>
                    <p:cond delay="indefinite"/>
                  </p:stCondLst>
                  <p:endCondLst>
                    <p:cond evt="onStopAudio" delay="0">
                      <p:tgtEl>
                        <p:sldTgt/>
                      </p:tgtEl>
                    </p:cond>
                  </p:endCondLst>
                </p:cTn>
                <p:tgtEl>
                  <p:spTgt spid="108"/>
                </p:tgtEl>
              </p:cMediaNode>
            </p:audio>
            <p:seq concurrent="1" nextAc="seek">
              <p:cTn id="32" restart="whenNotActive" fill="hold" evtFilter="cancelBubble" nodeType="interactiveSeq">
                <p:stCondLst>
                  <p:cond evt="onClick" delay="0">
                    <p:tgtEl>
                      <p:spTgt spid="110"/>
                    </p:tgtEl>
                  </p:cond>
                </p:stCondLst>
                <p:endSync evt="end" delay="0">
                  <p:rtn val="all"/>
                </p:endSync>
                <p:childTnLst>
                  <p:par>
                    <p:cTn id="33" fill="hold">
                      <p:stCondLst>
                        <p:cond delay="0"/>
                      </p:stCondLst>
                      <p:childTnLst>
                        <p:par>
                          <p:cTn id="34" fill="hold">
                            <p:stCondLst>
                              <p:cond delay="0"/>
                            </p:stCondLst>
                            <p:childTnLst>
                              <p:par>
                                <p:cTn id="35" presetID="1" presetClass="mediacall" presetSubtype="0" fill="hold" nodeType="clickEffect">
                                  <p:stCondLst>
                                    <p:cond delay="0"/>
                                  </p:stCondLst>
                                  <p:childTnLst>
                                    <p:cmd type="call" cmd="playFrom(0.0)">
                                      <p:cBhvr>
                                        <p:cTn id="36" dur="24032" fill="hold"/>
                                        <p:tgtEl>
                                          <p:spTgt spid="110"/>
                                        </p:tgtEl>
                                      </p:cBhvr>
                                    </p:cmd>
                                  </p:childTnLst>
                                </p:cTn>
                              </p:par>
                            </p:childTnLst>
                          </p:cTn>
                        </p:par>
                      </p:childTnLst>
                    </p:cTn>
                  </p:par>
                </p:childTnLst>
              </p:cTn>
              <p:nextCondLst>
                <p:cond evt="onClick" delay="0">
                  <p:tgtEl>
                    <p:spTgt spid="110"/>
                  </p:tgtEl>
                </p:cond>
              </p:nextCondLst>
            </p:seq>
            <p:audio>
              <p:cMediaNode vol="80000">
                <p:cTn id="37" fill="hold" display="0">
                  <p:stCondLst>
                    <p:cond delay="indefinite"/>
                  </p:stCondLst>
                  <p:endCondLst>
                    <p:cond evt="onStopAudio" delay="0">
                      <p:tgtEl>
                        <p:sldTgt/>
                      </p:tgtEl>
                    </p:cond>
                  </p:endCondLst>
                </p:cTn>
                <p:tgtEl>
                  <p:spTgt spid="11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ángulo 254">
            <a:extLst>
              <a:ext uri="{FF2B5EF4-FFF2-40B4-BE49-F238E27FC236}">
                <a16:creationId xmlns:a16="http://schemas.microsoft.com/office/drawing/2014/main" id="{BF801C84-8C0C-F330-D65F-9CB048C643ED}"/>
              </a:ext>
            </a:extLst>
          </p:cNvPr>
          <p:cNvSpPr/>
          <p:nvPr/>
        </p:nvSpPr>
        <p:spPr>
          <a:xfrm>
            <a:off x="-20573" y="-77822"/>
            <a:ext cx="4008938" cy="6183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50" name="bg object 16">
            <a:extLst>
              <a:ext uri="{FF2B5EF4-FFF2-40B4-BE49-F238E27FC236}">
                <a16:creationId xmlns:a16="http://schemas.microsoft.com/office/drawing/2014/main" id="{B2B6884F-5F3A-E0D1-E0AC-5852BF5DAE2C}"/>
              </a:ext>
            </a:extLst>
          </p:cNvPr>
          <p:cNvSpPr/>
          <p:nvPr/>
        </p:nvSpPr>
        <p:spPr>
          <a:xfrm>
            <a:off x="8548634" y="-77821"/>
            <a:ext cx="3664585" cy="1419749"/>
          </a:xfrm>
          <a:custGeom>
            <a:avLst/>
            <a:gdLst/>
            <a:ahLst/>
            <a:cxnLst/>
            <a:rect l="l" t="t" r="r" b="b"/>
            <a:pathLst>
              <a:path w="3664584" h="1221739">
                <a:moveTo>
                  <a:pt x="0" y="1221460"/>
                </a:moveTo>
                <a:lnTo>
                  <a:pt x="3664381" y="1221460"/>
                </a:lnTo>
                <a:lnTo>
                  <a:pt x="3664381" y="0"/>
                </a:lnTo>
                <a:lnTo>
                  <a:pt x="0" y="0"/>
                </a:lnTo>
                <a:lnTo>
                  <a:pt x="0" y="1221460"/>
                </a:lnTo>
                <a:close/>
              </a:path>
            </a:pathLst>
          </a:custGeom>
          <a:solidFill>
            <a:srgbClr val="8A88C7"/>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3" name="bg object 19">
            <a:extLst>
              <a:ext uri="{FF2B5EF4-FFF2-40B4-BE49-F238E27FC236}">
                <a16:creationId xmlns:a16="http://schemas.microsoft.com/office/drawing/2014/main" id="{795E4931-AE54-AEC7-628B-40C432ED2CD7}"/>
              </a:ext>
            </a:extLst>
          </p:cNvPr>
          <p:cNvSpPr/>
          <p:nvPr/>
        </p:nvSpPr>
        <p:spPr>
          <a:xfrm>
            <a:off x="2909770" y="-56304"/>
            <a:ext cx="5638864" cy="6914304"/>
          </a:xfrm>
          <a:custGeom>
            <a:avLst/>
            <a:gdLst/>
            <a:ahLst/>
            <a:cxnLst/>
            <a:rect l="l" t="t" r="r" b="b"/>
            <a:pathLst>
              <a:path w="8183880" h="2945765">
                <a:moveTo>
                  <a:pt x="8183270" y="0"/>
                </a:moveTo>
                <a:lnTo>
                  <a:pt x="0" y="0"/>
                </a:lnTo>
                <a:lnTo>
                  <a:pt x="0" y="2945485"/>
                </a:lnTo>
                <a:lnTo>
                  <a:pt x="8183270" y="2945485"/>
                </a:lnTo>
                <a:lnTo>
                  <a:pt x="8183270" y="0"/>
                </a:lnTo>
                <a:close/>
              </a:path>
            </a:pathLst>
          </a:custGeom>
          <a:solidFill>
            <a:srgbClr val="846FD4">
              <a:alpha val="80000"/>
            </a:srgbClr>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highlight>
                <a:srgbClr val="B6A7D3"/>
              </a:highligh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192" name="object 2">
            <a:extLst>
              <a:ext uri="{FF2B5EF4-FFF2-40B4-BE49-F238E27FC236}">
                <a16:creationId xmlns:a16="http://schemas.microsoft.com/office/drawing/2014/main" id="{AB358DD3-4D52-0F22-8DE3-EC16CA46AF2B}"/>
              </a:ext>
            </a:extLst>
          </p:cNvPr>
          <p:cNvSpPr txBox="1"/>
          <p:nvPr/>
        </p:nvSpPr>
        <p:spPr>
          <a:xfrm>
            <a:off x="1507893" y="1272703"/>
            <a:ext cx="1391491" cy="382797"/>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n-US" sz="2400" b="1" i="0" u="none" strike="noStrike" kern="1200" cap="none" spc="0" normalizeH="0" baseline="0" noProof="0" dirty="0">
                <a:ln>
                  <a:noFill/>
                </a:ln>
                <a:solidFill>
                  <a:srgbClr val="846FD4"/>
                </a:solidFill>
                <a:effectLst/>
                <a:uLnTx/>
                <a:uFillTx/>
                <a:latin typeface="Poppins" pitchFamily="2" charset="77"/>
                <a:ea typeface="+mn-ea"/>
                <a:cs typeface="Poppins" pitchFamily="2" charset="77"/>
              </a:rPr>
              <a:t>PHASE</a:t>
            </a:r>
          </a:p>
        </p:txBody>
      </p:sp>
      <p:sp>
        <p:nvSpPr>
          <p:cNvPr id="193" name="object 3">
            <a:extLst>
              <a:ext uri="{FF2B5EF4-FFF2-40B4-BE49-F238E27FC236}">
                <a16:creationId xmlns:a16="http://schemas.microsoft.com/office/drawing/2014/main" id="{1EE053BD-7733-BC77-6A21-F24185BC521C}"/>
              </a:ext>
            </a:extLst>
          </p:cNvPr>
          <p:cNvSpPr txBox="1"/>
          <p:nvPr/>
        </p:nvSpPr>
        <p:spPr>
          <a:xfrm>
            <a:off x="402397" y="2068877"/>
            <a:ext cx="3155717" cy="566822"/>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535353"/>
                </a:solidFill>
                <a:latin typeface="Poppins Medium" pitchFamily="2" charset="77"/>
                <a:cs typeface="Poppins Medium" pitchFamily="2" charset="77"/>
              </a:rPr>
              <a:t>Ideation workshops</a:t>
            </a:r>
            <a:endPar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Duration: 2 weeks.</a:t>
            </a:r>
          </a:p>
        </p:txBody>
      </p:sp>
      <p:sp>
        <p:nvSpPr>
          <p:cNvPr id="200" name="object 10">
            <a:extLst>
              <a:ext uri="{FF2B5EF4-FFF2-40B4-BE49-F238E27FC236}">
                <a16:creationId xmlns:a16="http://schemas.microsoft.com/office/drawing/2014/main" id="{8C6AA9F5-FF9D-D505-3D6B-9A7D7F371F29}"/>
              </a:ext>
            </a:extLst>
          </p:cNvPr>
          <p:cNvSpPr txBox="1"/>
          <p:nvPr/>
        </p:nvSpPr>
        <p:spPr>
          <a:xfrm>
            <a:off x="8727428" y="176927"/>
            <a:ext cx="3336757" cy="648254"/>
          </a:xfrm>
          <a:prstGeom prst="rect">
            <a:avLst/>
          </a:prstGeom>
        </p:spPr>
        <p:txBody>
          <a:bodyPr vert="horz" wrap="square" lIns="0" tIns="154305"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Deliverable – Prioritization of the opportunities </a:t>
            </a:r>
          </a:p>
        </p:txBody>
      </p:sp>
      <p:sp>
        <p:nvSpPr>
          <p:cNvPr id="246" name="object 56">
            <a:extLst>
              <a:ext uri="{FF2B5EF4-FFF2-40B4-BE49-F238E27FC236}">
                <a16:creationId xmlns:a16="http://schemas.microsoft.com/office/drawing/2014/main" id="{F218F018-D89C-BA38-01AA-60E17EAC352F}"/>
              </a:ext>
            </a:extLst>
          </p:cNvPr>
          <p:cNvSpPr txBox="1"/>
          <p:nvPr/>
        </p:nvSpPr>
        <p:spPr>
          <a:xfrm>
            <a:off x="298693" y="1009973"/>
            <a:ext cx="1269889" cy="77905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lang="en-US" sz="4800" b="1" i="0" u="none" strike="noStrike" kern="1200" cap="none" spc="-50" normalizeH="0" baseline="0" noProof="0" dirty="0">
                <a:ln>
                  <a:noFill/>
                </a:ln>
                <a:solidFill>
                  <a:srgbClr val="846FD4"/>
                </a:solidFill>
                <a:effectLst/>
                <a:uLnTx/>
                <a:uFillTx/>
                <a:latin typeface="Poppins Bold" panose="00000800000000000000" pitchFamily="2" charset="0"/>
                <a:ea typeface="+mn-ea"/>
                <a:cs typeface="Poppins Bold" panose="00000800000000000000" pitchFamily="2" charset="0"/>
              </a:rPr>
              <a:t>2nd</a:t>
            </a:r>
            <a:endParaRPr kumimoji="0" lang="en-US" sz="2800" b="0" i="0" u="none" strike="noStrike" kern="1200" cap="none" spc="0" normalizeH="0" baseline="0" noProof="0" dirty="0">
              <a:ln>
                <a:noFill/>
              </a:ln>
              <a:solidFill>
                <a:srgbClr val="846FD4"/>
              </a:solidFill>
              <a:effectLst/>
              <a:uLnTx/>
              <a:uFillTx/>
              <a:latin typeface="Poppins Bold" panose="00000800000000000000" pitchFamily="2" charset="0"/>
              <a:ea typeface="+mn-ea"/>
              <a:cs typeface="Poppins Bold" panose="00000800000000000000" pitchFamily="2" charset="0"/>
            </a:endParaRPr>
          </a:p>
        </p:txBody>
      </p:sp>
      <p:sp>
        <p:nvSpPr>
          <p:cNvPr id="271" name="Rectángulo 270">
            <a:extLst>
              <a:ext uri="{FF2B5EF4-FFF2-40B4-BE49-F238E27FC236}">
                <a16:creationId xmlns:a16="http://schemas.microsoft.com/office/drawing/2014/main" id="{6B871234-5775-ECE8-C0FD-6B94BD321F22}"/>
              </a:ext>
            </a:extLst>
          </p:cNvPr>
          <p:cNvSpPr/>
          <p:nvPr/>
        </p:nvSpPr>
        <p:spPr>
          <a:xfrm>
            <a:off x="3061983" y="1102889"/>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4" name="Triángulo 283">
            <a:extLst>
              <a:ext uri="{FF2B5EF4-FFF2-40B4-BE49-F238E27FC236}">
                <a16:creationId xmlns:a16="http://schemas.microsoft.com/office/drawing/2014/main" id="{A454517C-5191-C216-E2E2-1839A0C0D24D}"/>
              </a:ext>
            </a:extLst>
          </p:cNvPr>
          <p:cNvSpPr/>
          <p:nvPr/>
        </p:nvSpPr>
        <p:spPr>
          <a:xfrm rot="5400000">
            <a:off x="2752446" y="299116"/>
            <a:ext cx="538396" cy="464134"/>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6" name="Triángulo 285">
            <a:extLst>
              <a:ext uri="{FF2B5EF4-FFF2-40B4-BE49-F238E27FC236}">
                <a16:creationId xmlns:a16="http://schemas.microsoft.com/office/drawing/2014/main" id="{B5A01591-04DD-52AE-D1C5-A361D6800D63}"/>
              </a:ext>
            </a:extLst>
          </p:cNvPr>
          <p:cNvSpPr/>
          <p:nvPr/>
        </p:nvSpPr>
        <p:spPr>
          <a:xfrm rot="10800000">
            <a:off x="8727428" y="1267817"/>
            <a:ext cx="465624" cy="401400"/>
          </a:xfrm>
          <a:prstGeom prst="triangle">
            <a:avLst/>
          </a:prstGeom>
          <a:solidFill>
            <a:srgbClr val="8A8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15" name="CuadroTexto 14">
            <a:extLst>
              <a:ext uri="{FF2B5EF4-FFF2-40B4-BE49-F238E27FC236}">
                <a16:creationId xmlns:a16="http://schemas.microsoft.com/office/drawing/2014/main" id="{E1339E3C-BA00-8A1A-87BD-6AAD4EF1995B}"/>
              </a:ext>
            </a:extLst>
          </p:cNvPr>
          <p:cNvSpPr txBox="1"/>
          <p:nvPr/>
        </p:nvSpPr>
        <p:spPr>
          <a:xfrm>
            <a:off x="8635687" y="1663563"/>
            <a:ext cx="3205632"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00" cap="none" spc="0" normalizeH="0" baseline="0" noProof="0" dirty="0">
                <a:ln>
                  <a:noFill/>
                </a:ln>
                <a:solidFill>
                  <a:srgbClr val="FFFFFF">
                    <a:lumMod val="50000"/>
                  </a:srgbClr>
                </a:solidFill>
                <a:effectLst/>
                <a:uLnTx/>
                <a:uFillTx/>
                <a:latin typeface="Poppins"/>
                <a:ea typeface="Calibri"/>
                <a:cs typeface="Poppins Medium"/>
              </a:rPr>
              <a:t>Includ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Market diagnosis, opportunities and implications for </a:t>
            </a:r>
            <a:r>
              <a:rPr kumimoji="0" lang="en-US" sz="1100" b="0" i="0" u="none" strike="noStrike" kern="100" cap="none" spc="0" normalizeH="0" baseline="0" noProof="0" dirty="0" err="1">
                <a:ln>
                  <a:noFill/>
                </a:ln>
                <a:solidFill>
                  <a:srgbClr val="FFFFFF">
                    <a:lumMod val="50000"/>
                  </a:srgbClr>
                </a:solidFill>
                <a:effectLst/>
                <a:uLnTx/>
                <a:uFillTx/>
                <a:latin typeface="Poppins"/>
                <a:ea typeface="Calibri"/>
                <a:cs typeface="Poppins Medium"/>
              </a:rPr>
              <a:t>Odevo</a:t>
            </a:r>
            <a:r>
              <a:rPr lang="en-US" sz="1100" kern="100" dirty="0">
                <a:solidFill>
                  <a:srgbClr val="FFFFFF">
                    <a:lumMod val="50000"/>
                  </a:srgbClr>
                </a:solidFill>
                <a:latin typeface="Poppins"/>
                <a:ea typeface="Calibri"/>
                <a:cs typeface="Poppins Medium"/>
              </a:rPr>
              <a:t>. </a:t>
            </a:r>
            <a:endPar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Detailed results of the workshops (recordings, transcription and summary)</a:t>
            </a:r>
            <a:endParaRPr kumimoji="0" lang="en-US" sz="1800" b="0" i="0" u="none" strike="noStrike" kern="1200" cap="none" spc="0" normalizeH="0" baseline="0" noProof="0" dirty="0">
              <a:ln>
                <a:noFill/>
              </a:ln>
              <a:solidFill>
                <a:srgbClr val="545354"/>
              </a:solidFill>
              <a:effectLst/>
              <a:uLnTx/>
              <a:uFillTx/>
              <a:latin typeface="Poppins Medium" pitchFamily="2" charset="77"/>
              <a:ea typeface="+mn-ea"/>
              <a:cs typeface="Poppins Medium" pitchFamily="2" charset="77"/>
            </a:endParaRPr>
          </a:p>
        </p:txBody>
      </p:sp>
      <p:sp>
        <p:nvSpPr>
          <p:cNvPr id="3" name="object 7">
            <a:extLst>
              <a:ext uri="{FF2B5EF4-FFF2-40B4-BE49-F238E27FC236}">
                <a16:creationId xmlns:a16="http://schemas.microsoft.com/office/drawing/2014/main" id="{BB7E370D-A188-8347-21FB-752AE2A377CB}"/>
              </a:ext>
            </a:extLst>
          </p:cNvPr>
          <p:cNvSpPr txBox="1">
            <a:spLocks/>
          </p:cNvSpPr>
          <p:nvPr/>
        </p:nvSpPr>
        <p:spPr>
          <a:xfrm>
            <a:off x="334679" y="515341"/>
            <a:ext cx="2541871" cy="407798"/>
          </a:xfrm>
          <a:prstGeom prst="rect">
            <a:avLst/>
          </a:prstGeom>
        </p:spPr>
        <p:txBody>
          <a:bodyPr vert="horz" wrap="square" lIns="0" tIns="71622"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412E91"/>
                </a:solidFill>
                <a:effectLst/>
                <a:uLnTx/>
                <a:uFillTx/>
                <a:latin typeface="Poppins" pitchFamily="2" charset="77"/>
                <a:ea typeface="+mj-ea"/>
                <a:cs typeface="Poppins" pitchFamily="2" charset="77"/>
              </a:rPr>
              <a:t>METHODOLOGY</a:t>
            </a:r>
          </a:p>
        </p:txBody>
      </p:sp>
      <p:sp>
        <p:nvSpPr>
          <p:cNvPr id="6" name="object 5">
            <a:extLst>
              <a:ext uri="{FF2B5EF4-FFF2-40B4-BE49-F238E27FC236}">
                <a16:creationId xmlns:a16="http://schemas.microsoft.com/office/drawing/2014/main" id="{234144D8-0F97-D1DC-1B3A-2CB9118E6A75}"/>
              </a:ext>
            </a:extLst>
          </p:cNvPr>
          <p:cNvSpPr txBox="1"/>
          <p:nvPr/>
        </p:nvSpPr>
        <p:spPr>
          <a:xfrm>
            <a:off x="3446084" y="365261"/>
            <a:ext cx="4209027" cy="295466"/>
          </a:xfrm>
          <a:prstGeom prst="rect">
            <a:avLst/>
          </a:prstGeom>
        </p:spPr>
        <p:txBody>
          <a:bodyPr vert="horz" wrap="square" lIns="0" tIns="38100" rIns="0" bIns="0" rtlCol="0">
            <a:spAutoFit/>
          </a:bodyPr>
          <a:lstStyle/>
          <a:p>
            <a:pPr marL="12700" marR="5080" lvl="0" indent="0" algn="l" defTabSz="914400" rtl="0" eaLnBrk="1" fontAlgn="auto" latinLnBrk="0" hangingPunct="1">
              <a:lnSpc>
                <a:spcPts val="2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412E91"/>
                </a:solidFill>
                <a:effectLst/>
                <a:uLnTx/>
                <a:uFillTx/>
                <a:latin typeface="Poppins" pitchFamily="2" charset="77"/>
                <a:ea typeface="+mn-ea"/>
                <a:cs typeface="Poppins" pitchFamily="2" charset="77"/>
              </a:rPr>
              <a:t>Action details</a:t>
            </a:r>
            <a:endParaRPr kumimoji="0" lang="en-US" sz="1800" b="0" i="0" u="none" strike="noStrike" kern="1200" cap="none" spc="0" normalizeH="0" baseline="0" noProof="0" dirty="0">
              <a:ln>
                <a:noFill/>
              </a:ln>
              <a:solidFill>
                <a:srgbClr val="412E91"/>
              </a:solidFill>
              <a:effectLst/>
              <a:uLnTx/>
              <a:uFillTx/>
              <a:latin typeface="Poppins" pitchFamily="2" charset="77"/>
              <a:ea typeface="+mn-ea"/>
              <a:cs typeface="Poppins" pitchFamily="2" charset="77"/>
            </a:endParaRPr>
          </a:p>
        </p:txBody>
      </p:sp>
      <p:sp>
        <p:nvSpPr>
          <p:cNvPr id="4" name="object 18">
            <a:extLst>
              <a:ext uri="{FF2B5EF4-FFF2-40B4-BE49-F238E27FC236}">
                <a16:creationId xmlns:a16="http://schemas.microsoft.com/office/drawing/2014/main" id="{6C3D70B7-4E2E-5E5A-7D7E-EE4A9E583F46}"/>
              </a:ext>
            </a:extLst>
          </p:cNvPr>
          <p:cNvSpPr txBox="1"/>
          <p:nvPr/>
        </p:nvSpPr>
        <p:spPr>
          <a:xfrm>
            <a:off x="3420769" y="841879"/>
            <a:ext cx="4978831" cy="3375283"/>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300"/>
              </a:spcBef>
              <a:spcAft>
                <a:spcPts val="0"/>
              </a:spcAft>
              <a:buClrTx/>
              <a:buSzTx/>
              <a:buFontTx/>
              <a:buNone/>
              <a:tabLst/>
              <a:defRPr/>
            </a:pPr>
            <a:r>
              <a:rPr kumimoji="0" lang="es-419" sz="1050" b="1" i="0" u="none" strike="noStrike" kern="100" cap="none" spc="0" normalizeH="0" baseline="0" noProof="0" dirty="0">
                <a:ln>
                  <a:noFill/>
                </a:ln>
                <a:solidFill>
                  <a:srgbClr val="FFFFFF"/>
                </a:solidFill>
                <a:effectLst/>
                <a:uLnTx/>
                <a:uFillTx/>
                <a:latin typeface="Poppins"/>
                <a:ea typeface="Calibri"/>
                <a:cs typeface="Poppins ExtraLight"/>
              </a:rPr>
              <a:t>2 WORKSHOPS:</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Virtual </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Duration: </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1 hour</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Profile of attendees: </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Roles that have an overview of the strategic visions, overarching goals, understanding of the market trends, client comprehension, and the competitive positioning. </a:t>
            </a:r>
          </a:p>
          <a:p>
            <a:pPr marL="12700" marR="5080" lvl="0" algn="l" defTabSz="914400" rtl="0" eaLnBrk="1" fontAlgn="auto" latinLnBrk="0" hangingPunct="1">
              <a:lnSpc>
                <a:spcPct val="100000"/>
              </a:lnSpc>
              <a:spcBef>
                <a:spcPts val="300"/>
              </a:spcBef>
              <a:spcAft>
                <a:spcPts val="0"/>
              </a:spcAft>
              <a:buClrTx/>
              <a:buSzTx/>
              <a:tabLst/>
              <a:defRPr/>
            </a:pPr>
            <a:endParaRPr kumimoji="0" lang="en-US" sz="1050" b="0" i="0" u="none" strike="noStrike" kern="100" cap="none" spc="0" normalizeH="0" baseline="0" noProof="0" dirty="0">
              <a:ln>
                <a:noFill/>
              </a:ln>
              <a:solidFill>
                <a:srgbClr val="FFFFFF"/>
              </a:solidFill>
              <a:effectLst/>
              <a:uLnTx/>
              <a:uFillTx/>
              <a:latin typeface="Poppins"/>
              <a:ea typeface="Calibri"/>
              <a:cs typeface="Poppins ExtraLight"/>
            </a:endParaRPr>
          </a:p>
          <a:p>
            <a:pPr marL="12700" marR="5080" lvl="0" indent="0" algn="l" defTabSz="914400" rtl="0" eaLnBrk="1" fontAlgn="auto" latinLnBrk="0" hangingPunct="1">
              <a:lnSpc>
                <a:spcPct val="100000"/>
              </a:lnSpc>
              <a:spcBef>
                <a:spcPts val="300"/>
              </a:spcBef>
              <a:spcAft>
                <a:spcPts val="0"/>
              </a:spcAft>
              <a:buClrTx/>
              <a:buSzTx/>
              <a:buFontTx/>
              <a:buNone/>
              <a:tabLst/>
              <a:defRPr/>
            </a:pPr>
            <a:r>
              <a:rPr kumimoji="0" lang="en-US" sz="1050" b="0" i="0" u="sng" strike="noStrike" kern="100" cap="none" spc="0" normalizeH="0" baseline="0" noProof="0" dirty="0">
                <a:ln>
                  <a:noFill/>
                </a:ln>
                <a:solidFill>
                  <a:srgbClr val="FFFFFF"/>
                </a:solidFill>
                <a:effectLst/>
                <a:uLnTx/>
                <a:uFillTx/>
                <a:latin typeface="Poppins"/>
                <a:ea typeface="Calibri"/>
                <a:cs typeface="Poppins ExtraLight"/>
              </a:rPr>
              <a:t>Main Topics</a:t>
            </a:r>
            <a:r>
              <a:rPr kumimoji="0" lang="es-419" sz="1050" b="0" i="0" u="sng" strike="noStrike" kern="100" cap="none" spc="0" normalizeH="0" baseline="0" noProof="0" dirty="0">
                <a:ln>
                  <a:noFill/>
                </a:ln>
                <a:solidFill>
                  <a:srgbClr val="FFFFFF"/>
                </a:solidFill>
                <a:effectLst/>
                <a:uLnTx/>
                <a:uFillTx/>
                <a:latin typeface="Poppins"/>
                <a:ea typeface="Calibri"/>
                <a:cs typeface="Poppins ExtraLight"/>
              </a:rPr>
              <a:t>: </a:t>
            </a:r>
            <a:endParaRPr kumimoji="0" lang="en-US" sz="1050" b="0" i="0" u="sng" strike="noStrike" kern="100" cap="none" spc="0" normalizeH="0" baseline="0" noProof="0" dirty="0">
              <a:ln>
                <a:noFill/>
              </a:ln>
              <a:solidFill>
                <a:srgbClr val="FFFFFF"/>
              </a:solidFill>
              <a:effectLst/>
              <a:uLnTx/>
              <a:uFillTx/>
              <a:latin typeface="Poppins"/>
              <a:ea typeface="Calibri"/>
              <a:cs typeface="Poppins ExtraLight"/>
            </a:endParaRP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1" kern="100" dirty="0">
                <a:solidFill>
                  <a:srgbClr val="FFFFFF"/>
                </a:solidFill>
                <a:latin typeface="Poppins"/>
                <a:ea typeface="Calibri"/>
                <a:cs typeface="Poppins ExtraLight"/>
              </a:rPr>
              <a:t>Discuss proposed</a:t>
            </a: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 strategic opportunities and prioritization: </a:t>
            </a:r>
            <a:r>
              <a:rPr lang="en-US" sz="1100" kern="100" dirty="0">
                <a:solidFill>
                  <a:srgbClr val="FFFFFF"/>
                </a:solidFill>
                <a:latin typeface="Poppins"/>
                <a:ea typeface="Calibri"/>
                <a:cs typeface="Poppins ExtraLight"/>
              </a:rPr>
              <a:t>Identify and evaluate potential strategic opportunities. Prioritize these opportunities based on feasibility, impact, and alignment with Odevo's strategic goal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Clients needs and enhancement: </a:t>
            </a:r>
            <a:r>
              <a:rPr kumimoji="0" lang="en-US" sz="1050" i="0" u="none" strike="noStrike" kern="100" cap="none" spc="0" normalizeH="0" baseline="0" noProof="0" dirty="0">
                <a:ln>
                  <a:noFill/>
                </a:ln>
                <a:solidFill>
                  <a:srgbClr val="FFFFFF"/>
                </a:solidFill>
                <a:effectLst/>
                <a:uLnTx/>
                <a:uFillTx/>
                <a:latin typeface="Poppins"/>
                <a:ea typeface="Calibri"/>
                <a:cs typeface="Poppins ExtraLight"/>
              </a:rPr>
              <a:t>Brainstorm ideas for service enhancements and new offerings that can address these needs and improve client satisfaction.</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Competitive landscape and differentiation: </a:t>
            </a:r>
            <a:r>
              <a:rPr kumimoji="0" lang="en-US" sz="1050" i="0" u="none" strike="noStrike" kern="100" cap="none" spc="0" normalizeH="0" baseline="0" noProof="0" dirty="0">
                <a:ln>
                  <a:noFill/>
                </a:ln>
                <a:solidFill>
                  <a:srgbClr val="FFFFFF"/>
                </a:solidFill>
                <a:effectLst/>
                <a:uLnTx/>
                <a:uFillTx/>
                <a:latin typeface="Poppins"/>
                <a:ea typeface="Calibri"/>
                <a:cs typeface="Poppins ExtraLight"/>
              </a:rPr>
              <a:t>Opportunities to differentiate Odevo's offerings and establish a unique value proposition in the market.</a:t>
            </a:r>
          </a:p>
        </p:txBody>
      </p:sp>
      <p:sp>
        <p:nvSpPr>
          <p:cNvPr id="5" name="bg object 20">
            <a:extLst>
              <a:ext uri="{FF2B5EF4-FFF2-40B4-BE49-F238E27FC236}">
                <a16:creationId xmlns:a16="http://schemas.microsoft.com/office/drawing/2014/main" id="{7F258C30-6765-0912-6C6B-5265FBA3AAB5}"/>
              </a:ext>
            </a:extLst>
          </p:cNvPr>
          <p:cNvSpPr/>
          <p:nvPr/>
        </p:nvSpPr>
        <p:spPr>
          <a:xfrm>
            <a:off x="-20572" y="5383407"/>
            <a:ext cx="8598966" cy="1623830"/>
          </a:xfrm>
          <a:custGeom>
            <a:avLst/>
            <a:gdLst/>
            <a:ahLst/>
            <a:cxnLst/>
            <a:rect l="l" t="t" r="r" b="b"/>
            <a:pathLst>
              <a:path w="12193270" h="1400175">
                <a:moveTo>
                  <a:pt x="12193206" y="0"/>
                </a:moveTo>
                <a:lnTo>
                  <a:pt x="0" y="0"/>
                </a:lnTo>
                <a:lnTo>
                  <a:pt x="0" y="1399616"/>
                </a:lnTo>
                <a:lnTo>
                  <a:pt x="12193206" y="1399616"/>
                </a:lnTo>
                <a:lnTo>
                  <a:pt x="12193206" y="0"/>
                </a:lnTo>
                <a:close/>
              </a:path>
            </a:pathLst>
          </a:custGeom>
          <a:solidFill>
            <a:srgbClr val="412E91"/>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9" name="TextBox 24">
            <a:extLst>
              <a:ext uri="{FF2B5EF4-FFF2-40B4-BE49-F238E27FC236}">
                <a16:creationId xmlns:a16="http://schemas.microsoft.com/office/drawing/2014/main" id="{E4B52F74-9F46-F1A1-B9A4-8ED6E7A0A735}"/>
              </a:ext>
            </a:extLst>
          </p:cNvPr>
          <p:cNvSpPr txBox="1"/>
          <p:nvPr/>
        </p:nvSpPr>
        <p:spPr>
          <a:xfrm>
            <a:off x="257960" y="5521195"/>
            <a:ext cx="4985660"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1600" b="1"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Objective of the phase: </a:t>
            </a:r>
            <a:r>
              <a:rPr lang="en-US" sz="1600" kern="100" dirty="0">
                <a:solidFill>
                  <a:srgbClr val="FFFFFF"/>
                </a:solidFill>
                <a:latin typeface="Poppins"/>
                <a:ea typeface="Calibri" panose="020F0502020204030204" pitchFamily="34" charset="0"/>
                <a:cs typeface="Poppins Medium" pitchFamily="2" charset="77"/>
              </a:rPr>
              <a:t>Strategic opportunities</a:t>
            </a:r>
            <a:endParaRPr kumimoji="0" lang="en-US" sz="1600" b="0" i="0" u="none" strike="noStrike" kern="100" cap="none" spc="0" normalizeH="0" baseline="0" dirty="0">
              <a:ln>
                <a:noFill/>
              </a:ln>
              <a:solidFill>
                <a:srgbClr val="FFFFFF"/>
              </a:solidFill>
              <a:effectLst/>
              <a:uLnTx/>
              <a:uFillTx/>
              <a:latin typeface="Poppins"/>
              <a:ea typeface="Calibri" panose="020F0502020204030204" pitchFamily="34" charset="0"/>
              <a:cs typeface="Poppins Medium" pitchFamily="2" charset="77"/>
            </a:endParaRPr>
          </a:p>
        </p:txBody>
      </p:sp>
      <p:pic>
        <p:nvPicPr>
          <p:cNvPr id="12" name="Imagen 11" descr="Imagen que contiene Círculo&#10;&#10;Descripción generada automáticamente">
            <a:extLst>
              <a:ext uri="{FF2B5EF4-FFF2-40B4-BE49-F238E27FC236}">
                <a16:creationId xmlns:a16="http://schemas.microsoft.com/office/drawing/2014/main" id="{A13091F9-E01E-0EAC-AD56-D368AE8E7656}"/>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88594" y="6021074"/>
            <a:ext cx="647714" cy="647714"/>
          </a:xfrm>
          <a:prstGeom prst="rect">
            <a:avLst/>
          </a:prstGeom>
        </p:spPr>
      </p:pic>
      <p:cxnSp>
        <p:nvCxnSpPr>
          <p:cNvPr id="13" name="Conector recto 12">
            <a:extLst>
              <a:ext uri="{FF2B5EF4-FFF2-40B4-BE49-F238E27FC236}">
                <a16:creationId xmlns:a16="http://schemas.microsoft.com/office/drawing/2014/main" id="{6C930E1A-8369-DD13-7878-FB1F796678B9}"/>
              </a:ext>
            </a:extLst>
          </p:cNvPr>
          <p:cNvCxnSpPr>
            <a:cxnSpLocks/>
          </p:cNvCxnSpPr>
          <p:nvPr/>
        </p:nvCxnSpPr>
        <p:spPr>
          <a:xfrm>
            <a:off x="5243620" y="5709522"/>
            <a:ext cx="28135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object 9">
            <a:extLst>
              <a:ext uri="{FF2B5EF4-FFF2-40B4-BE49-F238E27FC236}">
                <a16:creationId xmlns:a16="http://schemas.microsoft.com/office/drawing/2014/main" id="{FDD1CCBF-EB41-6C37-3A9E-9BC783EABDB2}"/>
              </a:ext>
            </a:extLst>
          </p:cNvPr>
          <p:cNvSpPr txBox="1"/>
          <p:nvPr/>
        </p:nvSpPr>
        <p:spPr>
          <a:xfrm>
            <a:off x="1337757" y="6126450"/>
            <a:ext cx="6692154" cy="382156"/>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Evaluate strategic opportunities to prioritize initiatives based on their feasibility, impact, and alignment with Odevo's strategic goals.</a:t>
            </a:r>
            <a:endParaRPr kumimoji="0" lang="es-419"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endParaRPr>
          </a:p>
        </p:txBody>
      </p:sp>
      <p:pic>
        <p:nvPicPr>
          <p:cNvPr id="17" name="Imagen 16">
            <a:extLst>
              <a:ext uri="{FF2B5EF4-FFF2-40B4-BE49-F238E27FC236}">
                <a16:creationId xmlns:a16="http://schemas.microsoft.com/office/drawing/2014/main" id="{F96AE2AD-65AF-F17E-734F-CD9D5E412E58}"/>
              </a:ext>
            </a:extLst>
          </p:cNvPr>
          <p:cNvPicPr>
            <a:picLocks noChangeAspect="1"/>
          </p:cNvPicPr>
          <p:nvPr/>
        </p:nvPicPr>
        <p:blipFill>
          <a:blip r:embed="rId4"/>
          <a:stretch>
            <a:fillRect/>
          </a:stretch>
        </p:blipFill>
        <p:spPr>
          <a:xfrm>
            <a:off x="8635687" y="3248865"/>
            <a:ext cx="3399255" cy="1945572"/>
          </a:xfrm>
          <a:prstGeom prst="rect">
            <a:avLst/>
          </a:prstGeom>
        </p:spPr>
      </p:pic>
    </p:spTree>
    <p:extLst>
      <p:ext uri="{BB962C8B-B14F-4D97-AF65-F5344CB8AC3E}">
        <p14:creationId xmlns:p14="http://schemas.microsoft.com/office/powerpoint/2010/main" val="3573288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A284D-FFF1-23AC-1BE3-49FA075B85FC}"/>
            </a:ext>
          </a:extLst>
        </p:cNvPr>
        <p:cNvGrpSpPr/>
        <p:nvPr/>
      </p:nvGrpSpPr>
      <p:grpSpPr>
        <a:xfrm>
          <a:off x="0" y="0"/>
          <a:ext cx="0" cy="0"/>
          <a:chOff x="0" y="0"/>
          <a:chExt cx="0" cy="0"/>
        </a:xfrm>
      </p:grpSpPr>
      <p:sp>
        <p:nvSpPr>
          <p:cNvPr id="32" name="Título 31">
            <a:extLst>
              <a:ext uri="{FF2B5EF4-FFF2-40B4-BE49-F238E27FC236}">
                <a16:creationId xmlns:a16="http://schemas.microsoft.com/office/drawing/2014/main" id="{2DCC0689-1468-6D28-B348-71C5EB253FBC}"/>
              </a:ext>
            </a:extLst>
          </p:cNvPr>
          <p:cNvSpPr>
            <a:spLocks noGrp="1"/>
          </p:cNvSpPr>
          <p:nvPr>
            <p:ph type="title"/>
          </p:nvPr>
        </p:nvSpPr>
        <p:spPr>
          <a:xfrm>
            <a:off x="869899" y="269787"/>
            <a:ext cx="10550013" cy="798836"/>
          </a:xfrm>
        </p:spPr>
        <p:txBody>
          <a:bodyPr>
            <a:noAutofit/>
          </a:bodyPr>
          <a:lstStyle/>
          <a:p>
            <a:r>
              <a:rPr lang="en-US" dirty="0">
                <a:cs typeface="Poppins"/>
              </a:rPr>
              <a:t>D2C approach can be coupled with the institutional approach to provide a high-value offer to the HED segment.</a:t>
            </a:r>
            <a:endParaRPr lang="es-CO" dirty="0">
              <a:cs typeface="Poppins"/>
            </a:endParaRPr>
          </a:p>
        </p:txBody>
      </p:sp>
      <p:pic>
        <p:nvPicPr>
          <p:cNvPr id="2" name="Picture 2" descr="Global Property Management Group Odevo Continues U.S. Expansion With ...">
            <a:extLst>
              <a:ext uri="{FF2B5EF4-FFF2-40B4-BE49-F238E27FC236}">
                <a16:creationId xmlns:a16="http://schemas.microsoft.com/office/drawing/2014/main" id="{3941705F-59E4-EB40-0E2C-7022ECE1B2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C4EA952-3C71-BCD4-2ABD-993EA04A4843}"/>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prioritization results for ed tech company</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5" name="Rectángulo 4">
            <a:extLst>
              <a:ext uri="{FF2B5EF4-FFF2-40B4-BE49-F238E27FC236}">
                <a16:creationId xmlns:a16="http://schemas.microsoft.com/office/drawing/2014/main" id="{22B83E2E-072C-37BE-917E-38106AA9AE97}"/>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41" name="TextBox 8">
            <a:extLst>
              <a:ext uri="{FF2B5EF4-FFF2-40B4-BE49-F238E27FC236}">
                <a16:creationId xmlns:a16="http://schemas.microsoft.com/office/drawing/2014/main" id="{C6C3891D-2485-6EF2-388E-8C0345D7D046}"/>
              </a:ext>
            </a:extLst>
          </p:cNvPr>
          <p:cNvSpPr txBox="1"/>
          <p:nvPr/>
        </p:nvSpPr>
        <p:spPr>
          <a:xfrm>
            <a:off x="990599" y="1149591"/>
            <a:ext cx="10653531" cy="5538815"/>
          </a:xfrm>
          <a:prstGeom prst="rect">
            <a:avLst/>
          </a:prstGeom>
          <a:noFill/>
        </p:spPr>
        <p:txBody>
          <a:bodyPr rot="0" spcFirstLastPara="0" vert="horz" wrap="square" lIns="36000" tIns="36000" rIns="36000" bIns="36000" numCol="1" spcCol="0" rtlCol="0" fromWordArt="0" anchor="t" anchorCtr="0" forceAA="0" compatLnSpc="1">
            <a:prstTxWarp prst="textNoShape">
              <a:avLst/>
            </a:prstTxWarp>
            <a:spAutoFit/>
          </a:bodyPr>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Communicating </a:t>
            </a: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them in a way that has the highest appeal to the specific segment preferences and workflows</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Branding towards the HED segment as </a:t>
            </a: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THE place for jumpstarting your career </a:t>
            </a: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in the areas that YOU want to work on</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Advertising in social media</a:t>
            </a: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 YouTube for all segments, and targeted advertising in TikTok for current students and dropouts younger than 24, and Instagram for graduates and older students and graduates.</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Communicating the bang for the buck from a job perspective and testimonials in terms of employee placement and career switching impact</a:t>
            </a:r>
          </a:p>
          <a:p>
            <a:pPr marR="0" lvl="0" algn="l" defTabSz="914400" rtl="0" eaLnBrk="1" fontAlgn="auto" latinLnBrk="0" hangingPunct="1">
              <a:lnSpc>
                <a:spcPct val="100000"/>
              </a:lnSpc>
              <a:spcBef>
                <a:spcPct val="20000"/>
              </a:spcBef>
              <a:spcAft>
                <a:spcPts val="0"/>
              </a:spcAft>
              <a:buClrTx/>
              <a:buSzTx/>
              <a:tabLst/>
              <a:defRPr/>
            </a:pPr>
            <a:endParaRPr kumimoji="0" lang="en-US" sz="1200" b="0" i="0" u="none" strike="noStrike" kern="1200" cap="none" spc="0" normalizeH="0" baseline="0" noProof="0" dirty="0">
              <a:ln>
                <a:noFill/>
              </a:ln>
              <a:solidFill>
                <a:srgbClr val="08292D"/>
              </a:solidFill>
              <a:effectLst/>
              <a:uLnTx/>
              <a:uFillTx/>
              <a:latin typeface="Work Sans"/>
              <a:ea typeface="+mn-lt"/>
              <a:cs typeface="Poppins Light"/>
            </a:endParaRP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200" b="1" dirty="0">
                <a:solidFill>
                  <a:srgbClr val="08292D"/>
                </a:solidFill>
                <a:latin typeface="Work Sans"/>
                <a:ea typeface="+mn-lt"/>
                <a:cs typeface="Poppins Light"/>
              </a:rPr>
              <a:t>Providing a wide set of payment options and flexibility </a:t>
            </a:r>
            <a:r>
              <a:rPr lang="en-US" sz="1200" dirty="0">
                <a:solidFill>
                  <a:srgbClr val="08292D"/>
                </a:solidFill>
                <a:latin typeface="Work Sans"/>
                <a:ea typeface="+mn-lt"/>
                <a:cs typeface="Poppins Light"/>
              </a:rPr>
              <a:t>(some of which Ed Tech Co already offers)</a:t>
            </a:r>
          </a:p>
          <a:p>
            <a:pPr marL="742950" lvl="1" indent="-285750">
              <a:spcBef>
                <a:spcPct val="20000"/>
              </a:spcBef>
              <a:buFont typeface="Arial" panose="020B0604020202020204" pitchFamily="34" charset="0"/>
              <a:buChar char="•"/>
              <a:defRPr/>
            </a:pPr>
            <a:r>
              <a:rPr lang="en-US" sz="1200" dirty="0">
                <a:solidFill>
                  <a:srgbClr val="08292D"/>
                </a:solidFill>
                <a:latin typeface="Work Sans"/>
                <a:ea typeface="+mn-lt"/>
                <a:cs typeface="Poppins Light"/>
              </a:rPr>
              <a:t>Offering </a:t>
            </a:r>
            <a:r>
              <a:rPr lang="en-US" sz="1200" b="1" dirty="0">
                <a:solidFill>
                  <a:srgbClr val="08292D"/>
                </a:solidFill>
                <a:latin typeface="Work Sans"/>
                <a:ea typeface="+mn-lt"/>
                <a:cs typeface="Poppins Light"/>
              </a:rPr>
              <a:t>payment plans for employed graduates</a:t>
            </a:r>
          </a:p>
          <a:p>
            <a:pPr marL="742950" lvl="1" indent="-285750">
              <a:spcBef>
                <a:spcPct val="20000"/>
              </a:spcBef>
              <a:buFont typeface="Arial" panose="020B0604020202020204" pitchFamily="34" charset="0"/>
              <a:buChar char="•"/>
              <a:defRPr/>
            </a:pPr>
            <a:r>
              <a:rPr lang="en-US" sz="1200" dirty="0">
                <a:solidFill>
                  <a:srgbClr val="08292D"/>
                </a:solidFill>
                <a:latin typeface="Work Sans"/>
                <a:ea typeface="+mn-lt"/>
                <a:cs typeface="Poppins Light"/>
              </a:rPr>
              <a:t>Providing </a:t>
            </a:r>
            <a:r>
              <a:rPr lang="en-US" sz="1200" b="1" dirty="0">
                <a:solidFill>
                  <a:srgbClr val="08292D"/>
                </a:solidFill>
                <a:latin typeface="Work Sans"/>
                <a:ea typeface="+mn-lt"/>
                <a:cs typeface="Poppins Light"/>
              </a:rPr>
              <a:t>access to resources such as government and NGO grants to retrain</a:t>
            </a:r>
            <a:r>
              <a:rPr lang="en-US" sz="1200" dirty="0">
                <a:solidFill>
                  <a:srgbClr val="08292D"/>
                </a:solidFill>
                <a:latin typeface="Work Sans"/>
                <a:ea typeface="+mn-lt"/>
                <a:cs typeface="Poppins Light"/>
              </a:rPr>
              <a:t>, particularly for the most price sensitive individuals who are unemployed or underemployed</a:t>
            </a:r>
          </a:p>
          <a:p>
            <a:pPr marL="742950" lvl="1" indent="-285750">
              <a:spcBef>
                <a:spcPct val="20000"/>
              </a:spcBef>
              <a:buFont typeface="Arial" panose="020B0604020202020204" pitchFamily="34" charset="0"/>
              <a:buChar char="•"/>
              <a:defRPr/>
            </a:pPr>
            <a:r>
              <a:rPr lang="en-US" sz="1200" dirty="0">
                <a:solidFill>
                  <a:srgbClr val="08292D"/>
                </a:solidFill>
                <a:latin typeface="Work Sans"/>
                <a:ea typeface="+mn-lt"/>
                <a:cs typeface="Poppins Light"/>
              </a:rPr>
              <a:t>Evaluating ways to </a:t>
            </a:r>
            <a:r>
              <a:rPr lang="en-US" sz="1200" b="1" dirty="0">
                <a:solidFill>
                  <a:srgbClr val="08292D"/>
                </a:solidFill>
                <a:latin typeface="Work Sans"/>
                <a:ea typeface="+mn-lt"/>
                <a:cs typeface="Poppins Light"/>
              </a:rPr>
              <a:t>partner to provide loans</a:t>
            </a:r>
          </a:p>
          <a:p>
            <a:pPr marL="742950" lvl="1" indent="-285750">
              <a:spcBef>
                <a:spcPct val="20000"/>
              </a:spcBef>
              <a:buFont typeface="Arial" panose="020B0604020202020204" pitchFamily="34" charset="0"/>
              <a:buChar char="•"/>
              <a:defRPr/>
            </a:pPr>
            <a:r>
              <a:rPr lang="en-US" sz="1200" b="1" dirty="0">
                <a:solidFill>
                  <a:srgbClr val="08292D"/>
                </a:solidFill>
                <a:latin typeface="Work Sans"/>
                <a:ea typeface="+mn-lt"/>
                <a:cs typeface="Poppins Light"/>
              </a:rPr>
              <a:t>Exploring a risk-sharing component</a:t>
            </a:r>
            <a:r>
              <a:rPr lang="en-US" sz="1200" dirty="0">
                <a:solidFill>
                  <a:srgbClr val="08292D"/>
                </a:solidFill>
                <a:latin typeface="Work Sans"/>
                <a:ea typeface="+mn-lt"/>
                <a:cs typeface="Poppins Light"/>
              </a:rPr>
              <a:t> to the extent that it generates trust in the product without impacting financials significantly</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8292D"/>
              </a:solidFill>
              <a:effectLst/>
              <a:uLnTx/>
              <a:uFillTx/>
              <a:latin typeface="Work Sans"/>
              <a:ea typeface="+mn-lt"/>
              <a:cs typeface="Poppins Light"/>
            </a:endParaRP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Deepening the partnerships with institutions</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Partnering with </a:t>
            </a: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career services and academic advisors </a:t>
            </a: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from institutions to build and deliver career content and benefits for current students and graduates</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Associating with institutions as a </a:t>
            </a: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pathway for dropouts to return to complete the degree </a:t>
            </a: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by ensuring the student has a stable source of income and the discipline required to succeed</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8292D"/>
                </a:solidFill>
                <a:effectLst/>
                <a:uLnTx/>
                <a:uFillTx/>
                <a:latin typeface="Work Sans"/>
                <a:ea typeface="+mn-lt"/>
                <a:cs typeface="Poppins Light"/>
              </a:rPr>
              <a:t>Partnership/endorsement with higher ed institutions (ideally a content partnership with an Ivy League) </a:t>
            </a:r>
            <a:r>
              <a:rPr kumimoji="0" lang="en-US" sz="1200" b="0" i="0" u="none" strike="noStrike" kern="1200" cap="none" spc="0" normalizeH="0" baseline="0" noProof="0" dirty="0">
                <a:ln>
                  <a:noFill/>
                </a:ln>
                <a:solidFill>
                  <a:srgbClr val="08292D"/>
                </a:solidFill>
                <a:effectLst/>
                <a:uLnTx/>
                <a:uFillTx/>
                <a:latin typeface="Work Sans"/>
                <a:ea typeface="+mn-lt"/>
                <a:cs typeface="Poppins Light"/>
              </a:rPr>
              <a:t>given their pedigree, that can then be distributed to community colleges and lower-cost schools that don’t have continuing education</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200" dirty="0">
                <a:solidFill>
                  <a:srgbClr val="08292D"/>
                </a:solidFill>
                <a:latin typeface="Work Sans"/>
                <a:ea typeface="+mn-lt"/>
                <a:cs typeface="Poppins Light"/>
              </a:rPr>
              <a:t>…and defining whether Ed Tech Co will try to offer the for-credit offerings that the HED students would value significantly or avoid affecting most of the institutions that would not value it.</a:t>
            </a:r>
            <a:r>
              <a:rPr lang="en-US" sz="1200" baseline="30000" dirty="0">
                <a:solidFill>
                  <a:srgbClr val="08292D"/>
                </a:solidFill>
                <a:latin typeface="Work Sans"/>
                <a:ea typeface="+mn-lt"/>
                <a:cs typeface="Poppins Light"/>
              </a:rPr>
              <a:t>1</a:t>
            </a:r>
            <a:endParaRPr kumimoji="0" lang="en-US" sz="1200" b="0" i="0" u="none" strike="noStrike" kern="1200" cap="none" spc="0" normalizeH="0" baseline="30000" noProof="0" dirty="0">
              <a:ln>
                <a:noFill/>
              </a:ln>
              <a:solidFill>
                <a:srgbClr val="08292D"/>
              </a:solidFill>
              <a:effectLst/>
              <a:uLnTx/>
              <a:uFillTx/>
              <a:latin typeface="Work Sans"/>
              <a:ea typeface="+mn-lt"/>
              <a:cs typeface="Poppins Light"/>
            </a:endParaRP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8292D"/>
              </a:solidFill>
              <a:effectLst/>
              <a:uLnTx/>
              <a:uFillTx/>
              <a:latin typeface="Work Sans"/>
              <a:ea typeface="+mn-lt"/>
              <a:cs typeface="Poppins Light"/>
            </a:endParaRP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sz="1200" dirty="0">
              <a:solidFill>
                <a:srgbClr val="08292D"/>
              </a:solidFill>
              <a:latin typeface="Work Sans"/>
              <a:ea typeface="+mn-lt"/>
              <a:cs typeface="Poppins Light"/>
            </a:endParaRP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8292D"/>
              </a:solidFill>
              <a:effectLst/>
              <a:uLnTx/>
              <a:uFillTx/>
              <a:latin typeface="Work Sans"/>
              <a:ea typeface="+mn-lt"/>
              <a:cs typeface="Poppins Light"/>
            </a:endParaRPr>
          </a:p>
        </p:txBody>
      </p:sp>
      <p:sp>
        <p:nvSpPr>
          <p:cNvPr id="42" name="TextBox 41">
            <a:extLst>
              <a:ext uri="{FF2B5EF4-FFF2-40B4-BE49-F238E27FC236}">
                <a16:creationId xmlns:a16="http://schemas.microsoft.com/office/drawing/2014/main" id="{0E96FACE-5B4D-F7A8-E0E5-95E48F309C4E}"/>
              </a:ext>
            </a:extLst>
          </p:cNvPr>
          <p:cNvSpPr txBox="1"/>
          <p:nvPr/>
        </p:nvSpPr>
        <p:spPr>
          <a:xfrm>
            <a:off x="8839185" y="65276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43" name="Group 42">
            <a:extLst>
              <a:ext uri="{FF2B5EF4-FFF2-40B4-BE49-F238E27FC236}">
                <a16:creationId xmlns:a16="http://schemas.microsoft.com/office/drawing/2014/main" id="{965386EE-3396-76AB-BA49-B2F9C3447B60}"/>
              </a:ext>
            </a:extLst>
          </p:cNvPr>
          <p:cNvGrpSpPr/>
          <p:nvPr/>
        </p:nvGrpSpPr>
        <p:grpSpPr>
          <a:xfrm>
            <a:off x="8853188" y="658109"/>
            <a:ext cx="3141553" cy="266640"/>
            <a:chOff x="8853189" y="1020059"/>
            <a:chExt cx="888390" cy="235526"/>
          </a:xfrm>
        </p:grpSpPr>
        <p:cxnSp>
          <p:nvCxnSpPr>
            <p:cNvPr id="44" name="Straight Connector 43">
              <a:extLst>
                <a:ext uri="{FF2B5EF4-FFF2-40B4-BE49-F238E27FC236}">
                  <a16:creationId xmlns:a16="http://schemas.microsoft.com/office/drawing/2014/main" id="{90D6D00E-CF24-0B52-AE90-028A4A079AA7}"/>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F496A44-AC55-4357-79ED-2D3CB19601CE}"/>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99247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A284D-FFF1-23AC-1BE3-49FA075B85FC}"/>
            </a:ext>
          </a:extLst>
        </p:cNvPr>
        <p:cNvGrpSpPr/>
        <p:nvPr/>
      </p:nvGrpSpPr>
      <p:grpSpPr>
        <a:xfrm>
          <a:off x="0" y="0"/>
          <a:ext cx="0" cy="0"/>
          <a:chOff x="0" y="0"/>
          <a:chExt cx="0" cy="0"/>
        </a:xfrm>
      </p:grpSpPr>
      <p:sp>
        <p:nvSpPr>
          <p:cNvPr id="32" name="Título 31">
            <a:extLst>
              <a:ext uri="{FF2B5EF4-FFF2-40B4-BE49-F238E27FC236}">
                <a16:creationId xmlns:a16="http://schemas.microsoft.com/office/drawing/2014/main" id="{2DCC0689-1468-6D28-B348-71C5EB253FBC}"/>
              </a:ext>
            </a:extLst>
          </p:cNvPr>
          <p:cNvSpPr>
            <a:spLocks noGrp="1"/>
          </p:cNvSpPr>
          <p:nvPr>
            <p:ph type="title"/>
          </p:nvPr>
        </p:nvSpPr>
        <p:spPr>
          <a:xfrm>
            <a:off x="869899" y="269787"/>
            <a:ext cx="10550013" cy="798836"/>
          </a:xfrm>
        </p:spPr>
        <p:txBody>
          <a:bodyPr>
            <a:noAutofit/>
          </a:bodyPr>
          <a:lstStyle/>
          <a:p>
            <a:r>
              <a:rPr lang="en-US" dirty="0">
                <a:cs typeface="Poppins"/>
              </a:rPr>
              <a:t>Recommended adjacent product portfolio for D2C</a:t>
            </a:r>
            <a:endParaRPr lang="es-CO" dirty="0">
              <a:cs typeface="Poppins"/>
            </a:endParaRPr>
          </a:p>
        </p:txBody>
      </p:sp>
      <p:pic>
        <p:nvPicPr>
          <p:cNvPr id="2" name="Picture 2" descr="Global Property Management Group Odevo Continues U.S. Expansion With ...">
            <a:extLst>
              <a:ext uri="{FF2B5EF4-FFF2-40B4-BE49-F238E27FC236}">
                <a16:creationId xmlns:a16="http://schemas.microsoft.com/office/drawing/2014/main" id="{3941705F-59E4-EB40-0E2C-7022ECE1B2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C4EA952-3C71-BCD4-2ABD-993EA04A4843}"/>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prioritization results for ed tech company</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5" name="Rectángulo 4">
            <a:extLst>
              <a:ext uri="{FF2B5EF4-FFF2-40B4-BE49-F238E27FC236}">
                <a16:creationId xmlns:a16="http://schemas.microsoft.com/office/drawing/2014/main" id="{22B83E2E-072C-37BE-917E-38106AA9AE97}"/>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42" name="TextBox 41">
            <a:extLst>
              <a:ext uri="{FF2B5EF4-FFF2-40B4-BE49-F238E27FC236}">
                <a16:creationId xmlns:a16="http://schemas.microsoft.com/office/drawing/2014/main" id="{0E96FACE-5B4D-F7A8-E0E5-95E48F309C4E}"/>
              </a:ext>
            </a:extLst>
          </p:cNvPr>
          <p:cNvSpPr txBox="1"/>
          <p:nvPr/>
        </p:nvSpPr>
        <p:spPr>
          <a:xfrm>
            <a:off x="8839185" y="65276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43" name="Group 42">
            <a:extLst>
              <a:ext uri="{FF2B5EF4-FFF2-40B4-BE49-F238E27FC236}">
                <a16:creationId xmlns:a16="http://schemas.microsoft.com/office/drawing/2014/main" id="{965386EE-3396-76AB-BA49-B2F9C3447B60}"/>
              </a:ext>
            </a:extLst>
          </p:cNvPr>
          <p:cNvGrpSpPr/>
          <p:nvPr/>
        </p:nvGrpSpPr>
        <p:grpSpPr>
          <a:xfrm>
            <a:off x="8853188" y="658109"/>
            <a:ext cx="3141553" cy="266640"/>
            <a:chOff x="8853189" y="1020059"/>
            <a:chExt cx="888390" cy="235526"/>
          </a:xfrm>
        </p:grpSpPr>
        <p:cxnSp>
          <p:nvCxnSpPr>
            <p:cNvPr id="44" name="Straight Connector 43">
              <a:extLst>
                <a:ext uri="{FF2B5EF4-FFF2-40B4-BE49-F238E27FC236}">
                  <a16:creationId xmlns:a16="http://schemas.microsoft.com/office/drawing/2014/main" id="{90D6D00E-CF24-0B52-AE90-028A4A079AA7}"/>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F496A44-AC55-4357-79ED-2D3CB19601CE}"/>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graphicFrame>
        <p:nvGraphicFramePr>
          <p:cNvPr id="4" name="Table 7">
            <a:extLst>
              <a:ext uri="{FF2B5EF4-FFF2-40B4-BE49-F238E27FC236}">
                <a16:creationId xmlns:a16="http://schemas.microsoft.com/office/drawing/2014/main" id="{044E93C0-E3FC-981D-C90F-84F6C233F8D8}"/>
              </a:ext>
            </a:extLst>
          </p:cNvPr>
          <p:cNvGraphicFramePr>
            <a:graphicFrameLocks noGrp="1"/>
          </p:cNvGraphicFramePr>
          <p:nvPr>
            <p:extLst>
              <p:ext uri="{D42A27DB-BD31-4B8C-83A1-F6EECF244321}">
                <p14:modId xmlns:p14="http://schemas.microsoft.com/office/powerpoint/2010/main" val="3116598341"/>
              </p:ext>
            </p:extLst>
          </p:nvPr>
        </p:nvGraphicFramePr>
        <p:xfrm>
          <a:off x="869899" y="1072939"/>
          <a:ext cx="11055401" cy="4390337"/>
        </p:xfrm>
        <a:graphic>
          <a:graphicData uri="http://schemas.openxmlformats.org/drawingml/2006/table">
            <a:tbl>
              <a:tblPr firstRow="1" bandRow="1">
                <a:tableStyleId>{5C22544A-7EE6-4342-B048-85BDC9FD1C3A}</a:tableStyleId>
              </a:tblPr>
              <a:tblGrid>
                <a:gridCol w="1258706">
                  <a:extLst>
                    <a:ext uri="{9D8B030D-6E8A-4147-A177-3AD203B41FA5}">
                      <a16:colId xmlns:a16="http://schemas.microsoft.com/office/drawing/2014/main" val="176758733"/>
                    </a:ext>
                  </a:extLst>
                </a:gridCol>
                <a:gridCol w="1489334">
                  <a:extLst>
                    <a:ext uri="{9D8B030D-6E8A-4147-A177-3AD203B41FA5}">
                      <a16:colId xmlns:a16="http://schemas.microsoft.com/office/drawing/2014/main" val="169833150"/>
                    </a:ext>
                  </a:extLst>
                </a:gridCol>
                <a:gridCol w="2012477">
                  <a:extLst>
                    <a:ext uri="{9D8B030D-6E8A-4147-A177-3AD203B41FA5}">
                      <a16:colId xmlns:a16="http://schemas.microsoft.com/office/drawing/2014/main" val="352539394"/>
                    </a:ext>
                  </a:extLst>
                </a:gridCol>
                <a:gridCol w="1281150">
                  <a:extLst>
                    <a:ext uri="{9D8B030D-6E8A-4147-A177-3AD203B41FA5}">
                      <a16:colId xmlns:a16="http://schemas.microsoft.com/office/drawing/2014/main" val="3322140486"/>
                    </a:ext>
                  </a:extLst>
                </a:gridCol>
                <a:gridCol w="5013734">
                  <a:extLst>
                    <a:ext uri="{9D8B030D-6E8A-4147-A177-3AD203B41FA5}">
                      <a16:colId xmlns:a16="http://schemas.microsoft.com/office/drawing/2014/main" val="4143034585"/>
                    </a:ext>
                  </a:extLst>
                </a:gridCol>
              </a:tblGrid>
              <a:tr h="781435">
                <a:tc>
                  <a:txBody>
                    <a:bodyPr/>
                    <a:lstStyle/>
                    <a:p>
                      <a:r>
                        <a:rPr lang="en-US" sz="1000" dirty="0">
                          <a:latin typeface="Work Sans"/>
                        </a:rPr>
                        <a:t>Product</a:t>
                      </a:r>
                    </a:p>
                  </a:txBody>
                  <a:tcPr/>
                </a:tc>
                <a:tc>
                  <a:txBody>
                    <a:bodyPr/>
                    <a:lstStyle/>
                    <a:p>
                      <a:r>
                        <a:rPr lang="en-US" sz="1000" dirty="0">
                          <a:latin typeface="Work Sans"/>
                        </a:rPr>
                        <a:t>Goal</a:t>
                      </a:r>
                    </a:p>
                  </a:txBody>
                  <a:tcPr/>
                </a:tc>
                <a:tc>
                  <a:txBody>
                    <a:bodyPr/>
                    <a:lstStyle/>
                    <a:p>
                      <a:r>
                        <a:rPr lang="en-US" sz="1000" dirty="0">
                          <a:latin typeface="Work Sans"/>
                        </a:rPr>
                        <a:t>Targeted cohort</a:t>
                      </a:r>
                    </a:p>
                  </a:txBody>
                  <a:tcPr/>
                </a:tc>
                <a:tc>
                  <a:txBody>
                    <a:bodyPr/>
                    <a:lstStyle/>
                    <a:p>
                      <a:r>
                        <a:rPr lang="en-US" sz="1000" dirty="0">
                          <a:latin typeface="Work Sans"/>
                        </a:rPr>
                        <a:t>Price</a:t>
                      </a:r>
                    </a:p>
                  </a:txBody>
                  <a:tcPr/>
                </a:tc>
                <a:tc>
                  <a:txBody>
                    <a:bodyPr/>
                    <a:lstStyle/>
                    <a:p>
                      <a:r>
                        <a:rPr lang="en-US" sz="1000" dirty="0">
                          <a:latin typeface="Work Sans"/>
                        </a:rPr>
                        <a:t>Attributes to include</a:t>
                      </a:r>
                    </a:p>
                  </a:txBody>
                  <a:tcPr/>
                </a:tc>
                <a:extLst>
                  <a:ext uri="{0D108BD9-81ED-4DB2-BD59-A6C34878D82A}">
                    <a16:rowId xmlns:a16="http://schemas.microsoft.com/office/drawing/2014/main" val="2477031937"/>
                  </a:ext>
                </a:extLst>
              </a:tr>
              <a:tr h="802223">
                <a:tc>
                  <a:txBody>
                    <a:bodyPr/>
                    <a:lstStyle/>
                    <a:p>
                      <a:r>
                        <a:rPr lang="en-US" sz="1000" dirty="0">
                          <a:latin typeface="Work Sans"/>
                        </a:rPr>
                        <a:t>Job premium product</a:t>
                      </a:r>
                    </a:p>
                  </a:txBody>
                  <a:tcPr/>
                </a:tc>
                <a:tc>
                  <a:txBody>
                    <a:bodyPr/>
                    <a:lstStyle/>
                    <a:p>
                      <a:r>
                        <a:rPr lang="en-US" sz="1000" dirty="0">
                          <a:latin typeface="Work Sans"/>
                        </a:rPr>
                        <a:t>Increase customer base and serve job-seekers / growe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Work Sans"/>
                        </a:rPr>
                        <a:t>Current HED</a:t>
                      </a:r>
                    </a:p>
                    <a:p>
                      <a:endParaRPr lang="en-US" sz="1000" dirty="0">
                        <a:latin typeface="Work Sans" pitchFamily="2" charset="0"/>
                      </a:endParaRPr>
                    </a:p>
                  </a:txBody>
                  <a:tcPr/>
                </a:tc>
                <a:tc>
                  <a:txBody>
                    <a:bodyPr/>
                    <a:lstStyle/>
                    <a:p>
                      <a:r>
                        <a:rPr lang="en-US" sz="1000" dirty="0">
                          <a:latin typeface="Work Sans"/>
                        </a:rPr>
                        <a:t>$1,500</a:t>
                      </a:r>
                    </a:p>
                  </a:txBody>
                  <a:tcPr/>
                </a:tc>
                <a:tc>
                  <a:txBody>
                    <a:bodyPr/>
                    <a:lstStyle/>
                    <a:p>
                      <a:pPr marL="172720" indent="-172720">
                        <a:buFont typeface="Arial" panose="020B0604020202020204" pitchFamily="34" charset="0"/>
                        <a:buChar char="•"/>
                      </a:pPr>
                      <a:r>
                        <a:rPr lang="en-US" sz="1000" dirty="0">
                          <a:latin typeface="Work Sans"/>
                        </a:rPr>
                        <a:t>Non-credit or count as micro-degree</a:t>
                      </a:r>
                    </a:p>
                    <a:p>
                      <a:pPr marL="172720" indent="-172720">
                        <a:buFont typeface="Arial" panose="020B0604020202020204" pitchFamily="34" charset="0"/>
                        <a:buChar char="•"/>
                      </a:pPr>
                      <a:r>
                        <a:rPr lang="en-US" sz="1000" dirty="0">
                          <a:latin typeface="Work Sans"/>
                        </a:rPr>
                        <a:t>Fully online (</a:t>
                      </a:r>
                      <a:r>
                        <a:rPr lang="en-US" sz="1000" dirty="0" err="1">
                          <a:latin typeface="Work Sans"/>
                        </a:rPr>
                        <a:t>asynch</a:t>
                      </a:r>
                      <a:r>
                        <a:rPr lang="en-US" sz="1000" dirty="0">
                          <a:latin typeface="Work Sans"/>
                        </a:rPr>
                        <a:t> or synch)</a:t>
                      </a:r>
                    </a:p>
                    <a:p>
                      <a:pPr marL="172720" indent="-172720">
                        <a:buFont typeface="Arial" panose="020B0604020202020204" pitchFamily="34" charset="0"/>
                        <a:buChar char="•"/>
                      </a:pPr>
                      <a:r>
                        <a:rPr lang="en-US" sz="1000" dirty="0">
                          <a:latin typeface="Work Sans"/>
                        </a:rPr>
                        <a:t>Duration of ~2 months</a:t>
                      </a:r>
                    </a:p>
                    <a:p>
                      <a:pPr marL="172720" indent="-172720">
                        <a:buFont typeface="Arial" panose="020B0604020202020204" pitchFamily="34" charset="0"/>
                        <a:buChar char="•"/>
                      </a:pPr>
                      <a:r>
                        <a:rPr lang="en-US" sz="1000" dirty="0">
                          <a:latin typeface="Work Sans"/>
                        </a:rPr>
                        <a:t>Placement support in addition to networking and/or career advisor services</a:t>
                      </a:r>
                    </a:p>
                  </a:txBody>
                  <a:tcPr/>
                </a:tc>
                <a:extLst>
                  <a:ext uri="{0D108BD9-81ED-4DB2-BD59-A6C34878D82A}">
                    <a16:rowId xmlns:a16="http://schemas.microsoft.com/office/drawing/2014/main" val="3672114895"/>
                  </a:ext>
                </a:extLst>
              </a:tr>
              <a:tr h="802223">
                <a:tc>
                  <a:txBody>
                    <a:bodyPr/>
                    <a:lstStyle/>
                    <a:p>
                      <a:r>
                        <a:rPr lang="en-US" sz="1000" dirty="0">
                          <a:latin typeface="Work Sans"/>
                        </a:rPr>
                        <a:t>Certified exam</a:t>
                      </a:r>
                    </a:p>
                  </a:txBody>
                  <a:tcPr/>
                </a:tc>
                <a:tc>
                  <a:txBody>
                    <a:bodyPr/>
                    <a:lstStyle/>
                    <a:p>
                      <a:r>
                        <a:rPr lang="en-US" sz="1000" dirty="0">
                          <a:latin typeface="Work Sans"/>
                        </a:rPr>
                        <a:t>Increase value for job switchers with or without careers</a:t>
                      </a:r>
                    </a:p>
                  </a:txBody>
                  <a:tcPr/>
                </a:tc>
                <a:tc>
                  <a:txBody>
                    <a:bodyPr/>
                    <a:lstStyle/>
                    <a:p>
                      <a:r>
                        <a:rPr lang="en-US" sz="1000" dirty="0">
                          <a:latin typeface="Work Sans"/>
                        </a:rPr>
                        <a:t>Graduates and Dropouts</a:t>
                      </a:r>
                    </a:p>
                  </a:txBody>
                  <a:tcPr/>
                </a:tc>
                <a:tc>
                  <a:txBody>
                    <a:bodyPr/>
                    <a:lstStyle/>
                    <a:p>
                      <a:r>
                        <a:rPr lang="en-US" sz="1000" dirty="0">
                          <a:latin typeface="Work Sans"/>
                        </a:rPr>
                        <a:t>$1,500-$2,500</a:t>
                      </a:r>
                    </a:p>
                  </a:txBody>
                  <a:tcPr/>
                </a:tc>
                <a:tc>
                  <a:txBody>
                    <a:bodyPr/>
                    <a:lstStyle/>
                    <a:p>
                      <a:pPr marL="171450" indent="-171450">
                        <a:buFont typeface="Arial" panose="020B0604020202020204" pitchFamily="34" charset="0"/>
                        <a:buChar char="•"/>
                      </a:pPr>
                      <a:r>
                        <a:rPr lang="en-US" sz="1000" dirty="0">
                          <a:latin typeface="Work Sans"/>
                        </a:rPr>
                        <a:t>Vouchers for passing a certified exam</a:t>
                      </a:r>
                    </a:p>
                    <a:p>
                      <a:pPr marL="172720" indent="-172720">
                        <a:buFont typeface="Arial" panose="020B0604020202020204" pitchFamily="34" charset="0"/>
                        <a:buChar char="•"/>
                      </a:pPr>
                      <a:r>
                        <a:rPr lang="en-US" sz="1000" dirty="0">
                          <a:latin typeface="Work Sans"/>
                        </a:rPr>
                        <a:t>Fully online (</a:t>
                      </a:r>
                      <a:r>
                        <a:rPr lang="en-US" sz="1000" dirty="0" err="1">
                          <a:latin typeface="Work Sans"/>
                        </a:rPr>
                        <a:t>asynch</a:t>
                      </a:r>
                      <a:r>
                        <a:rPr lang="en-US" sz="1000" dirty="0">
                          <a:latin typeface="Work Sans"/>
                        </a:rPr>
                        <a:t> or synch)</a:t>
                      </a:r>
                    </a:p>
                    <a:p>
                      <a:pPr marL="171450" indent="-171450">
                        <a:buFont typeface="Arial" panose="020B0604020202020204" pitchFamily="34" charset="0"/>
                        <a:buChar char="•"/>
                      </a:pPr>
                      <a:r>
                        <a:rPr lang="en-US" sz="1000" dirty="0">
                          <a:latin typeface="Work Sans"/>
                        </a:rPr>
                        <a:t>Duration of ~2 months or offered as Bootcamp</a:t>
                      </a:r>
                    </a:p>
                    <a:p>
                      <a:pPr marL="171450" indent="-171450">
                        <a:buFont typeface="Arial" panose="020B0604020202020204" pitchFamily="34" charset="0"/>
                        <a:buChar char="•"/>
                      </a:pPr>
                      <a:r>
                        <a:rPr lang="en-US" sz="1000" dirty="0">
                          <a:latin typeface="Work Sans"/>
                        </a:rPr>
                        <a:t>Offer placement support and networking</a:t>
                      </a:r>
                    </a:p>
                  </a:txBody>
                  <a:tcPr/>
                </a:tc>
                <a:extLst>
                  <a:ext uri="{0D108BD9-81ED-4DB2-BD59-A6C34878D82A}">
                    <a16:rowId xmlns:a16="http://schemas.microsoft.com/office/drawing/2014/main" val="1769891018"/>
                  </a:ext>
                </a:extLst>
              </a:tr>
              <a:tr h="1151016">
                <a:tc>
                  <a:txBody>
                    <a:bodyPr/>
                    <a:lstStyle/>
                    <a:p>
                      <a:r>
                        <a:rPr lang="en-US" sz="1000" dirty="0">
                          <a:latin typeface="Work Sans"/>
                        </a:rPr>
                        <a:t>For-credit premium</a:t>
                      </a:r>
                    </a:p>
                  </a:txBody>
                  <a:tcPr/>
                </a:tc>
                <a:tc>
                  <a:txBody>
                    <a:bodyPr/>
                    <a:lstStyle/>
                    <a:p>
                      <a:r>
                        <a:rPr lang="en-US" sz="1000" dirty="0">
                          <a:latin typeface="Work Sans"/>
                        </a:rPr>
                        <a:t>Increase value for dropouts and current students who look to quickly learn skills outside of their major</a:t>
                      </a:r>
                    </a:p>
                  </a:txBody>
                  <a:tcPr/>
                </a:tc>
                <a:tc>
                  <a:txBody>
                    <a:bodyPr/>
                    <a:lstStyle/>
                    <a:p>
                      <a:r>
                        <a:rPr lang="en-US" sz="1000" dirty="0">
                          <a:latin typeface="Work Sans"/>
                        </a:rPr>
                        <a:t>Dropouts and Current HED</a:t>
                      </a:r>
                    </a:p>
                  </a:txBody>
                  <a:tcPr/>
                </a:tc>
                <a:tc>
                  <a:txBody>
                    <a:bodyPr/>
                    <a:lstStyle/>
                    <a:p>
                      <a:r>
                        <a:rPr lang="en-US" sz="1000" dirty="0">
                          <a:latin typeface="Work Sans"/>
                        </a:rPr>
                        <a:t>$1,500-$2,500</a:t>
                      </a:r>
                    </a:p>
                  </a:txBody>
                  <a:tcPr/>
                </a:tc>
                <a:tc>
                  <a:txBody>
                    <a:bodyPr/>
                    <a:lstStyle/>
                    <a:p>
                      <a:pPr marL="171450" indent="-171450">
                        <a:buFont typeface="Arial" panose="020B0604020202020204" pitchFamily="34" charset="0"/>
                        <a:buChar char="•"/>
                      </a:pPr>
                      <a:r>
                        <a:rPr lang="en-US" sz="1000" dirty="0">
                          <a:latin typeface="Work Sans"/>
                        </a:rPr>
                        <a:t>Allied with trusted university brands </a:t>
                      </a:r>
                      <a:endParaRPr lang="en-US" sz="1000" dirty="0">
                        <a:latin typeface="Work Sans" pitchFamily="2" charset="0"/>
                      </a:endParaRPr>
                    </a:p>
                    <a:p>
                      <a:pPr marL="171450" indent="-171450">
                        <a:buFont typeface="Arial" panose="020B0604020202020204" pitchFamily="34" charset="0"/>
                        <a:buChar char="•"/>
                      </a:pPr>
                      <a:r>
                        <a:rPr lang="en-US" sz="1000" dirty="0">
                          <a:latin typeface="Work Sans"/>
                        </a:rPr>
                        <a:t>Count toward credit in current and future programs</a:t>
                      </a:r>
                    </a:p>
                    <a:p>
                      <a:pPr marL="171450" indent="-171450">
                        <a:buFont typeface="Arial" panose="020B0604020202020204" pitchFamily="34" charset="0"/>
                        <a:buChar char="•"/>
                      </a:pPr>
                      <a:r>
                        <a:rPr lang="en-US" sz="1000" dirty="0">
                          <a:latin typeface="Work Sans"/>
                        </a:rPr>
                        <a:t>Fully online synch. Or </a:t>
                      </a:r>
                      <a:r>
                        <a:rPr lang="en-US" sz="1000" dirty="0" err="1">
                          <a:latin typeface="Work Sans"/>
                        </a:rPr>
                        <a:t>hyflex</a:t>
                      </a:r>
                      <a:endParaRPr lang="en-US" sz="1000" dirty="0">
                        <a:latin typeface="Work Sans"/>
                      </a:endParaRPr>
                    </a:p>
                    <a:p>
                      <a:pPr marL="171450" indent="-171450">
                        <a:buFont typeface="Arial" panose="020B0604020202020204" pitchFamily="34" charset="0"/>
                        <a:buChar char="•"/>
                      </a:pPr>
                      <a:r>
                        <a:rPr lang="en-US" sz="1000" dirty="0">
                          <a:latin typeface="Work Sans"/>
                        </a:rPr>
                        <a:t>Duration of ~2 months</a:t>
                      </a:r>
                    </a:p>
                    <a:p>
                      <a:pPr marL="171450" indent="-171450">
                        <a:buFont typeface="Arial" panose="020B0604020202020204" pitchFamily="34" charset="0"/>
                        <a:buChar char="•"/>
                      </a:pPr>
                      <a:r>
                        <a:rPr lang="en-US" sz="1000" dirty="0">
                          <a:latin typeface="Work Sans"/>
                        </a:rPr>
                        <a:t>Offer peer-to-peer support or instructor office hours</a:t>
                      </a:r>
                    </a:p>
                    <a:p>
                      <a:pPr marL="171450" indent="-171450">
                        <a:buFont typeface="Arial" panose="020B0604020202020204" pitchFamily="34" charset="0"/>
                        <a:buChar char="•"/>
                      </a:pPr>
                      <a:r>
                        <a:rPr lang="en-US" sz="1000" dirty="0">
                          <a:latin typeface="Work Sans"/>
                        </a:rPr>
                        <a:t>Offer networking and/or career advisor services</a:t>
                      </a:r>
                    </a:p>
                  </a:txBody>
                  <a:tcPr/>
                </a:tc>
                <a:extLst>
                  <a:ext uri="{0D108BD9-81ED-4DB2-BD59-A6C34878D82A}">
                    <a16:rowId xmlns:a16="http://schemas.microsoft.com/office/drawing/2014/main" val="75280036"/>
                  </a:ext>
                </a:extLst>
              </a:tr>
              <a:tr h="802223">
                <a:tc>
                  <a:txBody>
                    <a:bodyPr/>
                    <a:lstStyle/>
                    <a:p>
                      <a:r>
                        <a:rPr lang="en-US" sz="1000" dirty="0">
                          <a:latin typeface="Work Sans"/>
                        </a:rPr>
                        <a:t>Career advancement ultra-premium</a:t>
                      </a:r>
                    </a:p>
                  </a:txBody>
                  <a:tcPr/>
                </a:tc>
                <a:tc>
                  <a:txBody>
                    <a:bodyPr/>
                    <a:lstStyle/>
                    <a:p>
                      <a:r>
                        <a:rPr lang="en-US" sz="1000" dirty="0">
                          <a:latin typeface="Work Sans"/>
                        </a:rPr>
                        <a:t>Be THE provider for graduates who want to advance</a:t>
                      </a:r>
                    </a:p>
                  </a:txBody>
                  <a:tcPr/>
                </a:tc>
                <a:tc>
                  <a:txBody>
                    <a:bodyPr/>
                    <a:lstStyle/>
                    <a:p>
                      <a:r>
                        <a:rPr lang="en-US" sz="1000" dirty="0">
                          <a:latin typeface="Work Sans"/>
                        </a:rPr>
                        <a:t>Graduates</a:t>
                      </a:r>
                    </a:p>
                  </a:txBody>
                  <a:tcPr/>
                </a:tc>
                <a:tc>
                  <a:txBody>
                    <a:bodyPr/>
                    <a:lstStyle/>
                    <a:p>
                      <a:r>
                        <a:rPr lang="en-US" sz="1000" dirty="0">
                          <a:latin typeface="Work Sans"/>
                        </a:rPr>
                        <a:t>&gt;$2,500</a:t>
                      </a:r>
                    </a:p>
                  </a:txBody>
                  <a:tcPr/>
                </a:tc>
                <a:tc>
                  <a:txBody>
                    <a:bodyPr/>
                    <a:lstStyle/>
                    <a:p>
                      <a:pPr marL="171450" indent="-171450">
                        <a:buFont typeface="Arial" panose="020B0604020202020204" pitchFamily="34" charset="0"/>
                        <a:buChar char="•"/>
                      </a:pPr>
                      <a:r>
                        <a:rPr lang="en-US" sz="1000" dirty="0">
                          <a:latin typeface="Work Sans"/>
                        </a:rPr>
                        <a:t>Offer peer-to-peer support and instructor office hours</a:t>
                      </a:r>
                    </a:p>
                    <a:p>
                      <a:pPr marL="171450" indent="-171450">
                        <a:buFont typeface="Arial" panose="020B0604020202020204" pitchFamily="34" charset="0"/>
                        <a:buChar char="•"/>
                      </a:pPr>
                      <a:r>
                        <a:rPr lang="en-US" sz="1000" dirty="0">
                          <a:latin typeface="Work Sans"/>
                        </a:rPr>
                        <a:t>Fully online or </a:t>
                      </a:r>
                      <a:r>
                        <a:rPr lang="en-US" sz="1000" dirty="0" err="1">
                          <a:latin typeface="Work Sans"/>
                        </a:rPr>
                        <a:t>hyflex</a:t>
                      </a:r>
                      <a:endParaRPr lang="en-US" sz="1000" dirty="0">
                        <a:latin typeface="Work Sans"/>
                      </a:endParaRPr>
                    </a:p>
                    <a:p>
                      <a:pPr marL="171450" indent="-171450">
                        <a:buFont typeface="Arial" panose="020B0604020202020204" pitchFamily="34" charset="0"/>
                        <a:buChar char="•"/>
                      </a:pPr>
                      <a:r>
                        <a:rPr lang="en-US" sz="1000" dirty="0">
                          <a:latin typeface="Work Sans"/>
                        </a:rPr>
                        <a:t>Duration according to student needs: bootcamps, 2+ months, 1 year</a:t>
                      </a:r>
                    </a:p>
                    <a:p>
                      <a:pPr marL="171450" indent="-171450">
                        <a:buFont typeface="Arial" panose="020B0604020202020204" pitchFamily="34" charset="0"/>
                        <a:buChar char="•"/>
                      </a:pPr>
                      <a:r>
                        <a:rPr lang="en-US" sz="1000" dirty="0">
                          <a:latin typeface="Work Sans"/>
                        </a:rPr>
                        <a:t>Placement support, networking, and career advisor</a:t>
                      </a:r>
                    </a:p>
                  </a:txBody>
                  <a:tcPr/>
                </a:tc>
                <a:extLst>
                  <a:ext uri="{0D108BD9-81ED-4DB2-BD59-A6C34878D82A}">
                    <a16:rowId xmlns:a16="http://schemas.microsoft.com/office/drawing/2014/main" val="342592996"/>
                  </a:ext>
                </a:extLst>
              </a:tr>
            </a:tbl>
          </a:graphicData>
        </a:graphic>
      </p:graphicFrame>
    </p:spTree>
    <p:extLst>
      <p:ext uri="{BB962C8B-B14F-4D97-AF65-F5344CB8AC3E}">
        <p14:creationId xmlns:p14="http://schemas.microsoft.com/office/powerpoint/2010/main" val="1184103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p:nvPr/>
        </p:nvSpPr>
        <p:spPr>
          <a:xfrm>
            <a:off x="-1440870" y="5115835"/>
            <a:ext cx="3415140" cy="3415140"/>
          </a:xfrm>
          <a:custGeom>
            <a:avLst/>
            <a:gdLst/>
            <a:ahLst/>
            <a:cxnLst/>
            <a:rect l="l" t="t" r="r" b="b"/>
            <a:pathLst>
              <a:path w="5122710" h="5122710">
                <a:moveTo>
                  <a:pt x="0" y="0"/>
                </a:moveTo>
                <a:lnTo>
                  <a:pt x="5122710" y="0"/>
                </a:lnTo>
                <a:lnTo>
                  <a:pt x="5122710" y="5122710"/>
                </a:lnTo>
                <a:lnTo>
                  <a:pt x="0" y="512271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2050" name="Picture 2" descr="Global Property Management Group Odevo Continues U.S. Expansion With ...">
            <a:extLst>
              <a:ext uri="{FF2B5EF4-FFF2-40B4-BE49-F238E27FC236}">
                <a16:creationId xmlns:a16="http://schemas.microsoft.com/office/drawing/2014/main" id="{DBCE418B-51E1-DD9D-1C1D-19C248BBD1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
            <a:extLst>
              <a:ext uri="{FF2B5EF4-FFF2-40B4-BE49-F238E27FC236}">
                <a16:creationId xmlns:a16="http://schemas.microsoft.com/office/drawing/2014/main" id="{F7851A6A-B8AD-F4F1-2396-67EDBFD7A6DB}"/>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Interview results for a furniture and home decor company</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8" name="Rectángulo 7">
            <a:extLst>
              <a:ext uri="{FF2B5EF4-FFF2-40B4-BE49-F238E27FC236}">
                <a16:creationId xmlns:a16="http://schemas.microsoft.com/office/drawing/2014/main" id="{3E4AC76F-5938-4B8F-B4C3-A8B99125BAEA}"/>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3" name="Título 31">
            <a:extLst>
              <a:ext uri="{FF2B5EF4-FFF2-40B4-BE49-F238E27FC236}">
                <a16:creationId xmlns:a16="http://schemas.microsoft.com/office/drawing/2014/main" id="{3F057E8E-4268-CA69-0A60-64DC96BA731D}"/>
              </a:ext>
            </a:extLst>
          </p:cNvPr>
          <p:cNvSpPr txBox="1">
            <a:spLocks/>
          </p:cNvSpPr>
          <p:nvPr/>
        </p:nvSpPr>
        <p:spPr>
          <a:xfrm>
            <a:off x="754674" y="299800"/>
            <a:ext cx="10550013" cy="476786"/>
          </a:xfrm>
          <a:prstGeom prst="rect">
            <a:avLst/>
          </a:prstGeom>
        </p:spPr>
        <p:txBody>
          <a:bodyP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sz="2000" dirty="0" err="1">
                <a:cs typeface="Poppins"/>
              </a:rPr>
              <a:t>MoSCoW</a:t>
            </a:r>
            <a:r>
              <a:rPr lang="en-US" sz="2000" dirty="0">
                <a:cs typeface="Poppins"/>
              </a:rPr>
              <a:t>  Deliveries</a:t>
            </a:r>
          </a:p>
        </p:txBody>
      </p:sp>
      <p:grpSp>
        <p:nvGrpSpPr>
          <p:cNvPr id="2" name="object 2">
            <a:extLst>
              <a:ext uri="{FF2B5EF4-FFF2-40B4-BE49-F238E27FC236}">
                <a16:creationId xmlns:a16="http://schemas.microsoft.com/office/drawing/2014/main" id="{2DA51385-FFC4-D5F5-5C39-AFFC619E7417}"/>
              </a:ext>
            </a:extLst>
          </p:cNvPr>
          <p:cNvGrpSpPr/>
          <p:nvPr/>
        </p:nvGrpSpPr>
        <p:grpSpPr>
          <a:xfrm>
            <a:off x="771557" y="776585"/>
            <a:ext cx="11176000" cy="6000271"/>
            <a:chOff x="0" y="825500"/>
            <a:chExt cx="12192075" cy="5384800"/>
          </a:xfrm>
        </p:grpSpPr>
        <p:sp>
          <p:nvSpPr>
            <p:cNvPr id="4" name="object 3">
              <a:extLst>
                <a:ext uri="{FF2B5EF4-FFF2-40B4-BE49-F238E27FC236}">
                  <a16:creationId xmlns:a16="http://schemas.microsoft.com/office/drawing/2014/main" id="{8EDBF60F-FED1-025E-4F96-7F1EBB1E76E4}"/>
                </a:ext>
              </a:extLst>
            </p:cNvPr>
            <p:cNvSpPr/>
            <p:nvPr/>
          </p:nvSpPr>
          <p:spPr>
            <a:xfrm>
              <a:off x="0" y="825500"/>
              <a:ext cx="3051175" cy="5384800"/>
            </a:xfrm>
            <a:custGeom>
              <a:avLst/>
              <a:gdLst/>
              <a:ahLst/>
              <a:cxnLst/>
              <a:rect l="l" t="t" r="r" b="b"/>
              <a:pathLst>
                <a:path w="3051175" h="5384800">
                  <a:moveTo>
                    <a:pt x="3051098" y="0"/>
                  </a:moveTo>
                  <a:lnTo>
                    <a:pt x="0" y="0"/>
                  </a:lnTo>
                  <a:lnTo>
                    <a:pt x="0" y="5384800"/>
                  </a:lnTo>
                  <a:lnTo>
                    <a:pt x="3051098" y="5384800"/>
                  </a:lnTo>
                  <a:lnTo>
                    <a:pt x="3051098" y="0"/>
                  </a:lnTo>
                  <a:close/>
                </a:path>
              </a:pathLst>
            </a:custGeom>
            <a:solidFill>
              <a:srgbClr val="C5BE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Light"/>
                <a:ea typeface="+mn-ea"/>
                <a:cs typeface="+mn-cs"/>
              </a:endParaRPr>
            </a:p>
          </p:txBody>
        </p:sp>
        <p:sp>
          <p:nvSpPr>
            <p:cNvPr id="6" name="object 4">
              <a:extLst>
                <a:ext uri="{FF2B5EF4-FFF2-40B4-BE49-F238E27FC236}">
                  <a16:creationId xmlns:a16="http://schemas.microsoft.com/office/drawing/2014/main" id="{9F79AB46-4575-4583-0B21-126051FF7AF9}"/>
                </a:ext>
              </a:extLst>
            </p:cNvPr>
            <p:cNvSpPr/>
            <p:nvPr/>
          </p:nvSpPr>
          <p:spPr>
            <a:xfrm>
              <a:off x="3038703" y="825500"/>
              <a:ext cx="3051175" cy="5384800"/>
            </a:xfrm>
            <a:custGeom>
              <a:avLst/>
              <a:gdLst/>
              <a:ahLst/>
              <a:cxnLst/>
              <a:rect l="l" t="t" r="r" b="b"/>
              <a:pathLst>
                <a:path w="3051175" h="5384800">
                  <a:moveTo>
                    <a:pt x="3051098" y="0"/>
                  </a:moveTo>
                  <a:lnTo>
                    <a:pt x="0" y="0"/>
                  </a:lnTo>
                  <a:lnTo>
                    <a:pt x="0" y="5384800"/>
                  </a:lnTo>
                  <a:lnTo>
                    <a:pt x="3051098" y="5384800"/>
                  </a:lnTo>
                  <a:lnTo>
                    <a:pt x="3051098" y="0"/>
                  </a:lnTo>
                  <a:close/>
                </a:path>
              </a:pathLst>
            </a:custGeom>
            <a:solidFill>
              <a:srgbClr val="8E89C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Light"/>
                <a:ea typeface="+mn-ea"/>
                <a:cs typeface="+mn-cs"/>
              </a:endParaRPr>
            </a:p>
          </p:txBody>
        </p:sp>
        <p:sp>
          <p:nvSpPr>
            <p:cNvPr id="7" name="object 5">
              <a:extLst>
                <a:ext uri="{FF2B5EF4-FFF2-40B4-BE49-F238E27FC236}">
                  <a16:creationId xmlns:a16="http://schemas.microsoft.com/office/drawing/2014/main" id="{07EFD97D-7CC6-039F-6CA3-022D08236021}"/>
                </a:ext>
              </a:extLst>
            </p:cNvPr>
            <p:cNvSpPr/>
            <p:nvPr/>
          </p:nvSpPr>
          <p:spPr>
            <a:xfrm>
              <a:off x="6089802" y="825500"/>
              <a:ext cx="3051175" cy="5384800"/>
            </a:xfrm>
            <a:custGeom>
              <a:avLst/>
              <a:gdLst/>
              <a:ahLst/>
              <a:cxnLst/>
              <a:rect l="l" t="t" r="r" b="b"/>
              <a:pathLst>
                <a:path w="3051175" h="5384800">
                  <a:moveTo>
                    <a:pt x="3051098" y="0"/>
                  </a:moveTo>
                  <a:lnTo>
                    <a:pt x="0" y="0"/>
                  </a:lnTo>
                  <a:lnTo>
                    <a:pt x="0" y="5384800"/>
                  </a:lnTo>
                  <a:lnTo>
                    <a:pt x="3051098" y="5384800"/>
                  </a:lnTo>
                  <a:lnTo>
                    <a:pt x="3051098" y="0"/>
                  </a:lnTo>
                  <a:close/>
                </a:path>
              </a:pathLst>
            </a:custGeom>
            <a:solidFill>
              <a:srgbClr val="8A80F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Light"/>
                <a:ea typeface="+mn-ea"/>
                <a:cs typeface="+mn-cs"/>
              </a:endParaRPr>
            </a:p>
          </p:txBody>
        </p:sp>
        <p:sp>
          <p:nvSpPr>
            <p:cNvPr id="9" name="object 6">
              <a:extLst>
                <a:ext uri="{FF2B5EF4-FFF2-40B4-BE49-F238E27FC236}">
                  <a16:creationId xmlns:a16="http://schemas.microsoft.com/office/drawing/2014/main" id="{15EA0284-ED63-B5AD-67CB-CEA6FDD61F1E}"/>
                </a:ext>
              </a:extLst>
            </p:cNvPr>
            <p:cNvSpPr/>
            <p:nvPr/>
          </p:nvSpPr>
          <p:spPr>
            <a:xfrm>
              <a:off x="9140900" y="825500"/>
              <a:ext cx="3051175" cy="5384800"/>
            </a:xfrm>
            <a:custGeom>
              <a:avLst/>
              <a:gdLst/>
              <a:ahLst/>
              <a:cxnLst/>
              <a:rect l="l" t="t" r="r" b="b"/>
              <a:pathLst>
                <a:path w="3051175" h="5384800">
                  <a:moveTo>
                    <a:pt x="3051098" y="0"/>
                  </a:moveTo>
                  <a:lnTo>
                    <a:pt x="0" y="0"/>
                  </a:lnTo>
                  <a:lnTo>
                    <a:pt x="0" y="5384800"/>
                  </a:lnTo>
                  <a:lnTo>
                    <a:pt x="3051098" y="5384800"/>
                  </a:lnTo>
                  <a:lnTo>
                    <a:pt x="3051098" y="0"/>
                  </a:lnTo>
                  <a:close/>
                </a:path>
              </a:pathLst>
            </a:custGeom>
            <a:solidFill>
              <a:srgbClr val="442D9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Light"/>
                <a:ea typeface="+mn-ea"/>
                <a:cs typeface="+mn-cs"/>
              </a:endParaRPr>
            </a:p>
          </p:txBody>
        </p:sp>
      </p:grpSp>
      <p:sp>
        <p:nvSpPr>
          <p:cNvPr id="10" name="object 7">
            <a:extLst>
              <a:ext uri="{FF2B5EF4-FFF2-40B4-BE49-F238E27FC236}">
                <a16:creationId xmlns:a16="http://schemas.microsoft.com/office/drawing/2014/main" id="{E703D42D-9276-2EE5-36EB-3BC4A243D074}"/>
              </a:ext>
            </a:extLst>
          </p:cNvPr>
          <p:cNvSpPr txBox="1"/>
          <p:nvPr/>
        </p:nvSpPr>
        <p:spPr>
          <a:xfrm>
            <a:off x="1048640" y="1278621"/>
            <a:ext cx="2037411" cy="869469"/>
          </a:xfrm>
          <a:prstGeom prst="rect">
            <a:avLst/>
          </a:prstGeom>
        </p:spPr>
        <p:txBody>
          <a:bodyPr vert="horz" wrap="square" lIns="0" tIns="12700" rIns="0" bIns="0" rtlCol="0">
            <a:spAutoFit/>
          </a:bodyPr>
          <a:lstStyle/>
          <a:p>
            <a:pPr marL="240665" marR="0" lvl="0" indent="-227965" algn="l" defTabSz="914400" rtl="0" eaLnBrk="1" fontAlgn="auto" latinLnBrk="0" hangingPunct="1">
              <a:lnSpc>
                <a:spcPct val="100000"/>
              </a:lnSpc>
              <a:spcBef>
                <a:spcPts val="100"/>
              </a:spcBef>
              <a:spcAft>
                <a:spcPts val="0"/>
              </a:spcAft>
              <a:buClrTx/>
              <a:buSzTx/>
              <a:buFontTx/>
              <a:buChar char="•"/>
              <a:tabLst>
                <a:tab pos="240665" algn="l"/>
              </a:tabLst>
              <a:defRPr/>
            </a:pPr>
            <a:r>
              <a:rPr kumimoji="0" lang="en-US" sz="900" b="0" i="0" u="none" strike="noStrike" kern="1200" cap="none" spc="0" normalizeH="0" baseline="0" noProof="0" dirty="0">
                <a:ln>
                  <a:noFill/>
                </a:ln>
                <a:solidFill>
                  <a:srgbClr val="23036A"/>
                </a:solidFill>
                <a:effectLst/>
                <a:uLnTx/>
                <a:uFillTx/>
                <a:latin typeface="Poppins Medium" pitchFamily="2" charset="77"/>
                <a:ea typeface="+mn-ea"/>
                <a:cs typeface="Poppins Medium" pitchFamily="2" charset="77"/>
              </a:rPr>
              <a:t>Non-negotiable</a:t>
            </a:r>
          </a:p>
          <a:p>
            <a:pPr marL="240665" marR="0" lvl="0" indent="-227965" algn="l" defTabSz="914400" rtl="0" eaLnBrk="1" fontAlgn="auto" latinLnBrk="0" hangingPunct="1">
              <a:lnSpc>
                <a:spcPct val="100000"/>
              </a:lnSpc>
              <a:spcBef>
                <a:spcPts val="100"/>
              </a:spcBef>
              <a:spcAft>
                <a:spcPts val="0"/>
              </a:spcAft>
              <a:buClrTx/>
              <a:buSzTx/>
              <a:buFontTx/>
              <a:buChar char="•"/>
              <a:tabLst>
                <a:tab pos="240665" algn="l"/>
              </a:tabLst>
              <a:defRPr/>
            </a:pPr>
            <a:r>
              <a:rPr kumimoji="0" lang="en-US" sz="900" b="0" i="0" u="none" strike="noStrike" kern="1200" cap="none" spc="0" normalizeH="0" baseline="0" noProof="0" dirty="0">
                <a:ln>
                  <a:noFill/>
                </a:ln>
                <a:solidFill>
                  <a:srgbClr val="23036A"/>
                </a:solidFill>
                <a:effectLst/>
                <a:uLnTx/>
                <a:uFillTx/>
                <a:latin typeface="Poppins Medium" pitchFamily="2" charset="77"/>
                <a:ea typeface="+mn-ea"/>
                <a:cs typeface="Poppins Medium" pitchFamily="2" charset="77"/>
              </a:rPr>
              <a:t>Necessary for web functionality</a:t>
            </a:r>
          </a:p>
          <a:p>
            <a:pPr marL="240665" marR="0" lvl="0" indent="-227965" algn="l" defTabSz="914400" rtl="0" eaLnBrk="1" fontAlgn="auto" latinLnBrk="0" hangingPunct="1">
              <a:lnSpc>
                <a:spcPct val="100000"/>
              </a:lnSpc>
              <a:spcBef>
                <a:spcPts val="100"/>
              </a:spcBef>
              <a:spcAft>
                <a:spcPts val="0"/>
              </a:spcAft>
              <a:buClrTx/>
              <a:buSzTx/>
              <a:buFontTx/>
              <a:buChar char="•"/>
              <a:tabLst>
                <a:tab pos="240665" algn="l"/>
              </a:tabLst>
              <a:defRPr/>
            </a:pPr>
            <a:r>
              <a:rPr kumimoji="0" lang="en-US" sz="900" b="0" i="0" u="none" strike="noStrike" kern="1200" cap="none" spc="0" normalizeH="0" baseline="0" noProof="0" dirty="0">
                <a:ln>
                  <a:noFill/>
                </a:ln>
                <a:solidFill>
                  <a:srgbClr val="23036A"/>
                </a:solidFill>
                <a:effectLst/>
                <a:uLnTx/>
                <a:uFillTx/>
                <a:latin typeface="Poppins Medium" pitchFamily="2" charset="77"/>
                <a:ea typeface="+mn-ea"/>
                <a:cs typeface="Poppins Medium" pitchFamily="2" charset="77"/>
              </a:rPr>
              <a:t>The project is not viable without this functionality or internal process</a:t>
            </a:r>
            <a:endParaRPr kumimoji="0" lang="es-CO" sz="900" b="0" i="0" u="none" strike="noStrike" kern="1200" cap="none" spc="0" normalizeH="0" baseline="0" noProof="0" dirty="0">
              <a:ln>
                <a:noFill/>
              </a:ln>
              <a:solidFill>
                <a:srgbClr val="23036A"/>
              </a:solidFill>
              <a:effectLst/>
              <a:uLnTx/>
              <a:uFillTx/>
              <a:latin typeface="Poppins Medium" pitchFamily="2" charset="77"/>
              <a:ea typeface="+mn-ea"/>
              <a:cs typeface="Poppins Medium" pitchFamily="2" charset="77"/>
            </a:endParaRPr>
          </a:p>
        </p:txBody>
      </p:sp>
      <p:sp>
        <p:nvSpPr>
          <p:cNvPr id="11" name="object 8">
            <a:extLst>
              <a:ext uri="{FF2B5EF4-FFF2-40B4-BE49-F238E27FC236}">
                <a16:creationId xmlns:a16="http://schemas.microsoft.com/office/drawing/2014/main" id="{FC57A4D9-6AE6-2536-A9F3-191FF0CC6DF3}"/>
              </a:ext>
            </a:extLst>
          </p:cNvPr>
          <p:cNvSpPr txBox="1"/>
          <p:nvPr/>
        </p:nvSpPr>
        <p:spPr>
          <a:xfrm>
            <a:off x="1060604" y="861333"/>
            <a:ext cx="1554480" cy="34544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100" b="1" i="0" u="none" strike="noStrike" kern="1200" cap="none" spc="0" normalizeH="0" baseline="0" dirty="0">
                <a:ln>
                  <a:noFill/>
                </a:ln>
                <a:solidFill>
                  <a:srgbClr val="23036A"/>
                </a:solidFill>
                <a:effectLst/>
                <a:uLnTx/>
                <a:uFillTx/>
                <a:latin typeface="Poppins Medium" pitchFamily="2" charset="77"/>
                <a:ea typeface="+mn-ea"/>
                <a:cs typeface="Poppins Medium" pitchFamily="2" charset="77"/>
              </a:rPr>
              <a:t>Must-have</a:t>
            </a:r>
            <a:endParaRPr kumimoji="0" lang="en-US" sz="2100" b="0" i="0" u="none" strike="noStrike" kern="1200" cap="none" spc="0" normalizeH="0" baseline="0" dirty="0">
              <a:ln>
                <a:noFill/>
              </a:ln>
              <a:solidFill>
                <a:srgbClr val="23036A"/>
              </a:solidFill>
              <a:effectLst/>
              <a:uLnTx/>
              <a:uFillTx/>
              <a:latin typeface="Poppins Medium" pitchFamily="2" charset="77"/>
              <a:ea typeface="+mn-ea"/>
              <a:cs typeface="Poppins Medium" pitchFamily="2" charset="77"/>
            </a:endParaRPr>
          </a:p>
        </p:txBody>
      </p:sp>
      <p:sp>
        <p:nvSpPr>
          <p:cNvPr id="12" name="object 17">
            <a:extLst>
              <a:ext uri="{FF2B5EF4-FFF2-40B4-BE49-F238E27FC236}">
                <a16:creationId xmlns:a16="http://schemas.microsoft.com/office/drawing/2014/main" id="{3183BA61-A289-BDF4-40BB-E40073CDAA05}"/>
              </a:ext>
            </a:extLst>
          </p:cNvPr>
          <p:cNvSpPr/>
          <p:nvPr/>
        </p:nvSpPr>
        <p:spPr>
          <a:xfrm>
            <a:off x="858204" y="2219938"/>
            <a:ext cx="10991273" cy="4470163"/>
          </a:xfrm>
          <a:custGeom>
            <a:avLst/>
            <a:gdLst/>
            <a:ahLst/>
            <a:cxnLst/>
            <a:rect l="l" t="t" r="r" b="b"/>
            <a:pathLst>
              <a:path w="11976100" h="3651250">
                <a:moveTo>
                  <a:pt x="2857500" y="0"/>
                </a:moveTo>
                <a:lnTo>
                  <a:pt x="0" y="0"/>
                </a:lnTo>
                <a:lnTo>
                  <a:pt x="0" y="3651161"/>
                </a:lnTo>
                <a:lnTo>
                  <a:pt x="2857500" y="3651161"/>
                </a:lnTo>
                <a:lnTo>
                  <a:pt x="2857500" y="0"/>
                </a:lnTo>
                <a:close/>
              </a:path>
              <a:path w="11976100" h="3651250">
                <a:moveTo>
                  <a:pt x="5880100" y="0"/>
                </a:moveTo>
                <a:lnTo>
                  <a:pt x="3022600" y="0"/>
                </a:lnTo>
                <a:lnTo>
                  <a:pt x="3022600" y="3651161"/>
                </a:lnTo>
                <a:lnTo>
                  <a:pt x="5880100" y="3651161"/>
                </a:lnTo>
                <a:lnTo>
                  <a:pt x="5880100" y="0"/>
                </a:lnTo>
                <a:close/>
              </a:path>
              <a:path w="11976100" h="3651250">
                <a:moveTo>
                  <a:pt x="8928100" y="0"/>
                </a:moveTo>
                <a:lnTo>
                  <a:pt x="6070600" y="0"/>
                </a:lnTo>
                <a:lnTo>
                  <a:pt x="6070600" y="3651161"/>
                </a:lnTo>
                <a:lnTo>
                  <a:pt x="8928100" y="3651161"/>
                </a:lnTo>
                <a:lnTo>
                  <a:pt x="8928100" y="0"/>
                </a:lnTo>
                <a:close/>
              </a:path>
              <a:path w="11976100" h="3651250">
                <a:moveTo>
                  <a:pt x="11976100" y="0"/>
                </a:moveTo>
                <a:lnTo>
                  <a:pt x="9118600" y="0"/>
                </a:lnTo>
                <a:lnTo>
                  <a:pt x="9118600" y="3651161"/>
                </a:lnTo>
                <a:lnTo>
                  <a:pt x="11976100" y="3651161"/>
                </a:lnTo>
                <a:lnTo>
                  <a:pt x="1197610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304258"/>
              </a:solidFill>
              <a:effectLst/>
              <a:uLnTx/>
              <a:uFillTx/>
              <a:latin typeface="Poppins Light"/>
              <a:ea typeface="+mn-ea"/>
              <a:cs typeface="+mn-cs"/>
            </a:endParaRPr>
          </a:p>
        </p:txBody>
      </p:sp>
      <p:sp>
        <p:nvSpPr>
          <p:cNvPr id="13" name="CuadroTexto 12">
            <a:extLst>
              <a:ext uri="{FF2B5EF4-FFF2-40B4-BE49-F238E27FC236}">
                <a16:creationId xmlns:a16="http://schemas.microsoft.com/office/drawing/2014/main" id="{2C81D56E-0AD9-2F16-49A0-D01418BFB7FE}"/>
              </a:ext>
            </a:extLst>
          </p:cNvPr>
          <p:cNvSpPr txBox="1"/>
          <p:nvPr/>
        </p:nvSpPr>
        <p:spPr>
          <a:xfrm>
            <a:off x="825173" y="2339424"/>
            <a:ext cx="2602844" cy="4247317"/>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Interactive shipping calendar</a:t>
            </a:r>
            <a:r>
              <a:rPr kumimoji="0" lang="en-US" sz="1000" i="0" u="none" strike="noStrike" kern="1200" cap="none" spc="0" normalizeH="0" baseline="0" noProof="0" dirty="0">
                <a:ln>
                  <a:noFill/>
                </a:ln>
                <a:solidFill>
                  <a:srgbClr val="304258"/>
                </a:solidFill>
                <a:effectLst/>
                <a:uLnTx/>
                <a:uFillTx/>
                <a:latin typeface="Poppins"/>
                <a:ea typeface="+mn-ea"/>
                <a:cs typeface="Poppins"/>
              </a:rPr>
              <a:t> to select dates starting from a default minimum date and within a maximum timefra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Information on partial deliveries </a:t>
            </a:r>
            <a:r>
              <a:rPr kumimoji="0" lang="en-US" sz="1000" i="0" u="none" strike="noStrike" kern="1200" cap="none" spc="0" normalizeH="0" baseline="0" noProof="0" dirty="0">
                <a:ln>
                  <a:noFill/>
                </a:ln>
                <a:solidFill>
                  <a:srgbClr val="304258"/>
                </a:solidFill>
                <a:effectLst/>
                <a:uLnTx/>
                <a:uFillTx/>
                <a:latin typeface="Poppins"/>
                <a:ea typeface="+mn-ea"/>
                <a:cs typeface="Poppins"/>
              </a:rPr>
              <a:t>with reference images of products and the ability to set different delivery dates if necessary, similar to Wayfai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Confirmation email </a:t>
            </a:r>
            <a:r>
              <a:rPr kumimoji="0" lang="en-US" sz="1000" i="0" u="none" strike="noStrike" kern="1200" cap="none" spc="0" normalizeH="0" baseline="0" noProof="0" dirty="0">
                <a:ln>
                  <a:noFill/>
                </a:ln>
                <a:solidFill>
                  <a:srgbClr val="304258"/>
                </a:solidFill>
                <a:effectLst/>
                <a:uLnTx/>
                <a:uFillTx/>
                <a:latin typeface="Poppins"/>
                <a:ea typeface="+mn-ea"/>
                <a:cs typeface="Poppins"/>
              </a:rPr>
              <a:t>of packing and/or upcoming dispatch at the time of invoicing, with a link to track the shipment status on the </a:t>
            </a:r>
            <a:r>
              <a:rPr kumimoji="0" lang="en-US" sz="1000" i="0" u="none" strike="noStrike" kern="1200" cap="none" spc="0" normalizeH="0" baseline="0" noProof="0" dirty="0" err="1">
                <a:ln>
                  <a:noFill/>
                </a:ln>
                <a:solidFill>
                  <a:srgbClr val="304258"/>
                </a:solidFill>
                <a:effectLst/>
                <a:uLnTx/>
                <a:uFillTx/>
                <a:latin typeface="Poppins"/>
                <a:ea typeface="+mn-ea"/>
                <a:cs typeface="Poppins"/>
              </a:rPr>
              <a:t>Có</a:t>
            </a:r>
            <a:r>
              <a:rPr kumimoji="0" lang="en-US" sz="1000" i="0" u="none" strike="noStrike" kern="1200" cap="none" spc="0" normalizeH="0" baseline="0" noProof="0" dirty="0">
                <a:ln>
                  <a:noFill/>
                </a:ln>
                <a:solidFill>
                  <a:srgbClr val="304258"/>
                </a:solidFill>
                <a:effectLst/>
                <a:uLnTx/>
                <a:uFillTx/>
                <a:latin typeface="Poppins"/>
                <a:ea typeface="+mn-ea"/>
                <a:cs typeface="Poppins"/>
              </a:rPr>
              <a:t> webs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Elimination of shipping costs </a:t>
            </a:r>
            <a:r>
              <a:rPr kumimoji="0" lang="en-US" sz="1000" i="0" u="none" strike="noStrike" kern="1200" cap="none" spc="0" normalizeH="0" baseline="0" noProof="0" dirty="0">
                <a:ln>
                  <a:noFill/>
                </a:ln>
                <a:solidFill>
                  <a:srgbClr val="304258"/>
                </a:solidFill>
                <a:effectLst/>
                <a:uLnTx/>
                <a:uFillTx/>
                <a:latin typeface="Poppins"/>
                <a:ea typeface="+mn-ea"/>
                <a:cs typeface="Poppins"/>
              </a:rPr>
              <a:t>on the PDP (Product Detail P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Transport costs defined </a:t>
            </a:r>
            <a:r>
              <a:rPr kumimoji="0" lang="en-US" sz="1000" i="0" u="none" strike="noStrike" kern="1200" cap="none" spc="0" normalizeH="0" baseline="0" noProof="0" dirty="0">
                <a:ln>
                  <a:noFill/>
                </a:ln>
                <a:solidFill>
                  <a:srgbClr val="304258"/>
                </a:solidFill>
                <a:effectLst/>
                <a:uLnTx/>
                <a:uFillTx/>
                <a:latin typeface="Poppins"/>
                <a:ea typeface="+mn-ea"/>
                <a:cs typeface="Poppins"/>
              </a:rPr>
              <a:t>through a percentage calculation (to be defined) only at checkout. Handling express shipping if it exceeds the established threshold, as well as grouping shipments to reduce the cost to the consu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Offering “Next day” delivery service </a:t>
            </a:r>
            <a:r>
              <a:rPr kumimoji="0" lang="en-US" sz="1000" i="0" u="none" strike="noStrike" kern="1200" cap="none" spc="0" normalizeH="0" baseline="0" noProof="0" dirty="0">
                <a:ln>
                  <a:noFill/>
                </a:ln>
                <a:solidFill>
                  <a:srgbClr val="304258"/>
                </a:solidFill>
                <a:effectLst/>
                <a:uLnTx/>
                <a:uFillTx/>
                <a:latin typeface="Poppins"/>
                <a:ea typeface="+mn-ea"/>
                <a:cs typeface="Poppins"/>
              </a:rPr>
              <a:t>and same-day assembly (or on the date determined by the customer)</a:t>
            </a:r>
            <a:endParaRPr kumimoji="0" lang="es-CO" sz="1000" i="0" u="none" strike="noStrike" kern="1200" cap="none" spc="0" normalizeH="0" baseline="0" noProof="0" dirty="0">
              <a:ln>
                <a:noFill/>
              </a:ln>
              <a:solidFill>
                <a:srgbClr val="304258"/>
              </a:solidFill>
              <a:effectLst/>
              <a:uLnTx/>
              <a:uFillTx/>
              <a:latin typeface="Poppins"/>
              <a:ea typeface="+mn-ea"/>
              <a:cs typeface="Poppins"/>
            </a:endParaRPr>
          </a:p>
        </p:txBody>
      </p:sp>
      <p:sp>
        <p:nvSpPr>
          <p:cNvPr id="14" name="object 9">
            <a:extLst>
              <a:ext uri="{FF2B5EF4-FFF2-40B4-BE49-F238E27FC236}">
                <a16:creationId xmlns:a16="http://schemas.microsoft.com/office/drawing/2014/main" id="{B278F535-E884-7CF7-D9E6-9A87ECB43C98}"/>
              </a:ext>
            </a:extLst>
          </p:cNvPr>
          <p:cNvSpPr txBox="1"/>
          <p:nvPr/>
        </p:nvSpPr>
        <p:spPr>
          <a:xfrm>
            <a:off x="3633280" y="1394373"/>
            <a:ext cx="1762732" cy="289823"/>
          </a:xfrm>
          <a:prstGeom prst="rect">
            <a:avLst/>
          </a:prstGeom>
        </p:spPr>
        <p:txBody>
          <a:bodyPr vert="horz" wrap="square" lIns="0" tIns="12700" rIns="0" bIns="0" rtlCol="0">
            <a:spAutoFit/>
          </a:bodyPr>
          <a:lstStyle/>
          <a:p>
            <a:pPr marL="240665" marR="0" lvl="0" indent="-227965" algn="l" defTabSz="914400" rtl="0" eaLnBrk="1" fontAlgn="auto" latinLnBrk="0" hangingPunct="1">
              <a:lnSpc>
                <a:spcPct val="100000"/>
              </a:lnSpc>
              <a:spcBef>
                <a:spcPts val="100"/>
              </a:spcBef>
              <a:spcAft>
                <a:spcPts val="0"/>
              </a:spcAft>
              <a:buClrTx/>
              <a:buSzTx/>
              <a:buFontTx/>
              <a:buChar char="•"/>
              <a:tabLst>
                <a:tab pos="240665" algn="l"/>
              </a:tabLst>
              <a:defRPr/>
            </a:pPr>
            <a:r>
              <a:rPr kumimoji="0" lang="en-US" sz="900" b="0" i="0" u="none" strike="noStrike" kern="1200" cap="none" spc="0" normalizeH="0" baseline="0" dirty="0">
                <a:ln>
                  <a:noFill/>
                </a:ln>
                <a:solidFill>
                  <a:srgbClr val="FFFFFF"/>
                </a:solidFill>
                <a:effectLst/>
                <a:uLnTx/>
                <a:uFillTx/>
                <a:latin typeface="Poppins Medium" pitchFamily="2" charset="77"/>
                <a:ea typeface="+mn-ea"/>
                <a:cs typeface="Poppins Medium" pitchFamily="2" charset="77"/>
              </a:rPr>
              <a:t>Important but not crucial</a:t>
            </a:r>
            <a:endParaRPr kumimoji="0" lang="en-US" sz="900" b="0" i="0" u="none" strike="noStrike" kern="1200" cap="none" spc="0" normalizeH="0" baseline="0" dirty="0">
              <a:ln>
                <a:noFill/>
              </a:ln>
              <a:solidFill>
                <a:srgbClr val="304258"/>
              </a:solidFill>
              <a:effectLst/>
              <a:uLnTx/>
              <a:uFillTx/>
              <a:latin typeface="Poppins Medium" pitchFamily="2" charset="77"/>
              <a:ea typeface="+mn-ea"/>
              <a:cs typeface="Poppins Medium" pitchFamily="2" charset="77"/>
            </a:endParaRPr>
          </a:p>
          <a:p>
            <a:pPr marL="240665" marR="0" lvl="0" indent="-227965" algn="l" defTabSz="914400" rtl="0" eaLnBrk="1" fontAlgn="auto" latinLnBrk="0" hangingPunct="1">
              <a:lnSpc>
                <a:spcPct val="100000"/>
              </a:lnSpc>
              <a:spcBef>
                <a:spcPts val="0"/>
              </a:spcBef>
              <a:spcAft>
                <a:spcPts val="0"/>
              </a:spcAft>
              <a:buClrTx/>
              <a:buSzTx/>
              <a:buFontTx/>
              <a:buChar char="•"/>
              <a:tabLst>
                <a:tab pos="240665" algn="l"/>
              </a:tabLst>
              <a:defRPr/>
            </a:pPr>
            <a:r>
              <a:rPr kumimoji="0" lang="en-US" sz="900" b="0" i="0" u="none" strike="noStrike" kern="1200" cap="none" spc="0" normalizeH="0" baseline="0" dirty="0">
                <a:ln>
                  <a:noFill/>
                </a:ln>
                <a:solidFill>
                  <a:srgbClr val="FFFFFF"/>
                </a:solidFill>
                <a:effectLst/>
                <a:uLnTx/>
                <a:uFillTx/>
                <a:latin typeface="Poppins Medium" pitchFamily="2" charset="77"/>
                <a:ea typeface="+mn-ea"/>
                <a:cs typeface="Poppins Medium" pitchFamily="2" charset="77"/>
              </a:rPr>
              <a:t>Desirable for the client</a:t>
            </a:r>
            <a:endParaRPr kumimoji="0" lang="en-US" sz="900" b="0" i="0" u="none" strike="noStrike" kern="1200" cap="none" spc="0" normalizeH="0" baseline="0" dirty="0">
              <a:ln>
                <a:noFill/>
              </a:ln>
              <a:solidFill>
                <a:srgbClr val="304258"/>
              </a:solidFill>
              <a:effectLst/>
              <a:uLnTx/>
              <a:uFillTx/>
              <a:latin typeface="Poppins Medium" pitchFamily="2" charset="77"/>
              <a:ea typeface="+mn-ea"/>
              <a:cs typeface="Poppins Medium" pitchFamily="2" charset="77"/>
            </a:endParaRPr>
          </a:p>
        </p:txBody>
      </p:sp>
      <p:sp>
        <p:nvSpPr>
          <p:cNvPr id="15" name="object 10">
            <a:extLst>
              <a:ext uri="{FF2B5EF4-FFF2-40B4-BE49-F238E27FC236}">
                <a16:creationId xmlns:a16="http://schemas.microsoft.com/office/drawing/2014/main" id="{BB8A9699-A7FF-4330-61EE-CD0420D1A138}"/>
              </a:ext>
            </a:extLst>
          </p:cNvPr>
          <p:cNvSpPr txBox="1"/>
          <p:nvPr/>
        </p:nvSpPr>
        <p:spPr>
          <a:xfrm>
            <a:off x="6648383" y="1381361"/>
            <a:ext cx="1757045" cy="579646"/>
          </a:xfrm>
          <a:prstGeom prst="rect">
            <a:avLst/>
          </a:prstGeom>
        </p:spPr>
        <p:txBody>
          <a:bodyPr vert="horz" wrap="square" lIns="0" tIns="12700" rIns="0" bIns="0" rtlCol="0">
            <a:spAutoFit/>
          </a:bodyPr>
          <a:lstStyle/>
          <a:p>
            <a:pPr marL="241300" marR="5080" lvl="0" indent="-228600" algn="l" defTabSz="914400" rtl="0" eaLnBrk="1" fontAlgn="auto" latinLnBrk="0" hangingPunct="1">
              <a:lnSpc>
                <a:spcPct val="100000"/>
              </a:lnSpc>
              <a:spcBef>
                <a:spcPts val="100"/>
              </a:spcBef>
              <a:spcAft>
                <a:spcPts val="0"/>
              </a:spcAft>
              <a:buClrTx/>
              <a:buSzTx/>
              <a:buFontTx/>
              <a:buChar char="•"/>
              <a:tabLst>
                <a:tab pos="241300" algn="l"/>
              </a:tabLst>
              <a:defRPr/>
            </a:pPr>
            <a:r>
              <a:rPr kumimoji="0" lang="en-US" sz="900" b="0" i="0" u="none" strike="noStrike" kern="1200" cap="none" spc="0" normalizeH="0" baseline="0" noProof="0" dirty="0">
                <a:ln>
                  <a:noFill/>
                </a:ln>
                <a:solidFill>
                  <a:srgbClr val="FFFFFF"/>
                </a:solidFill>
                <a:effectLst/>
                <a:uLnTx/>
                <a:uFillTx/>
                <a:latin typeface="Poppins Medium" pitchFamily="2" charset="77"/>
                <a:ea typeface="+mn-ea"/>
                <a:cs typeface="Poppins Medium" pitchFamily="2" charset="77"/>
              </a:rPr>
              <a:t>Only implement if time and resources allow</a:t>
            </a:r>
          </a:p>
          <a:p>
            <a:pPr marL="241300" marR="5080" lvl="0" indent="-228600" algn="l" defTabSz="914400" rtl="0" eaLnBrk="1" fontAlgn="auto" latinLnBrk="0" hangingPunct="1">
              <a:lnSpc>
                <a:spcPct val="100000"/>
              </a:lnSpc>
              <a:spcBef>
                <a:spcPts val="100"/>
              </a:spcBef>
              <a:spcAft>
                <a:spcPts val="0"/>
              </a:spcAft>
              <a:buClrTx/>
              <a:buSzTx/>
              <a:buFontTx/>
              <a:buChar char="•"/>
              <a:tabLst>
                <a:tab pos="241300" algn="l"/>
              </a:tabLst>
              <a:defRPr/>
            </a:pPr>
            <a:r>
              <a:rPr lang="en-US" sz="900" dirty="0">
                <a:solidFill>
                  <a:srgbClr val="FFFFFF"/>
                </a:solidFill>
                <a:latin typeface="Poppins Medium" pitchFamily="2" charset="77"/>
                <a:cs typeface="Poppins Medium" pitchFamily="2" charset="77"/>
              </a:rPr>
              <a:t>Minor impact on the final result</a:t>
            </a:r>
            <a:endParaRPr kumimoji="0" lang="en-US" sz="900" b="0" i="0" u="none" strike="noStrike" kern="1200" cap="none" spc="0" normalizeH="0" baseline="0" noProof="0" dirty="0">
              <a:ln>
                <a:noFill/>
              </a:ln>
              <a:solidFill>
                <a:srgbClr val="304258"/>
              </a:solidFill>
              <a:effectLst/>
              <a:uLnTx/>
              <a:uFillTx/>
              <a:latin typeface="Poppins Medium" pitchFamily="2" charset="77"/>
              <a:ea typeface="+mn-ea"/>
              <a:cs typeface="Poppins Medium" pitchFamily="2" charset="77"/>
            </a:endParaRPr>
          </a:p>
        </p:txBody>
      </p:sp>
      <p:sp>
        <p:nvSpPr>
          <p:cNvPr id="16" name="object 12">
            <a:extLst>
              <a:ext uri="{FF2B5EF4-FFF2-40B4-BE49-F238E27FC236}">
                <a16:creationId xmlns:a16="http://schemas.microsoft.com/office/drawing/2014/main" id="{5808DC51-1C40-C000-FBC7-D1C67F5E3CA4}"/>
              </a:ext>
            </a:extLst>
          </p:cNvPr>
          <p:cNvSpPr txBox="1"/>
          <p:nvPr/>
        </p:nvSpPr>
        <p:spPr>
          <a:xfrm>
            <a:off x="3677104" y="861333"/>
            <a:ext cx="3407187" cy="33598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3155950" algn="l"/>
              </a:tabLst>
              <a:defRPr/>
            </a:pPr>
            <a:r>
              <a:rPr kumimoji="0" lang="en-US" sz="2100" b="1" i="0" u="none" strike="noStrike" kern="1200" cap="none" spc="0" normalizeH="0" baseline="0" dirty="0">
                <a:ln>
                  <a:noFill/>
                </a:ln>
                <a:solidFill>
                  <a:srgbClr val="FFFFFF"/>
                </a:solidFill>
                <a:effectLst/>
                <a:uLnTx/>
                <a:uFillTx/>
                <a:latin typeface="Poppins Medium" pitchFamily="2" charset="77"/>
                <a:ea typeface="+mn-ea"/>
                <a:cs typeface="Poppins Medium" pitchFamily="2" charset="77"/>
              </a:rPr>
              <a:t>Should-have	</a:t>
            </a:r>
            <a:endParaRPr kumimoji="0" lang="en-US" sz="2100" b="0" i="0" u="none" strike="noStrike" kern="1200" cap="none" spc="0" normalizeH="0" baseline="0" dirty="0">
              <a:ln>
                <a:noFill/>
              </a:ln>
              <a:solidFill>
                <a:srgbClr val="304258"/>
              </a:solidFill>
              <a:effectLst/>
              <a:uLnTx/>
              <a:uFillTx/>
              <a:latin typeface="Poppins Medium" pitchFamily="2" charset="77"/>
              <a:ea typeface="+mn-ea"/>
              <a:cs typeface="Poppins Medium" pitchFamily="2" charset="77"/>
            </a:endParaRPr>
          </a:p>
        </p:txBody>
      </p:sp>
      <p:sp>
        <p:nvSpPr>
          <p:cNvPr id="17" name="object 13">
            <a:extLst>
              <a:ext uri="{FF2B5EF4-FFF2-40B4-BE49-F238E27FC236}">
                <a16:creationId xmlns:a16="http://schemas.microsoft.com/office/drawing/2014/main" id="{D8168D74-2763-7951-129F-F39C9B645D44}"/>
              </a:ext>
            </a:extLst>
          </p:cNvPr>
          <p:cNvSpPr txBox="1"/>
          <p:nvPr/>
        </p:nvSpPr>
        <p:spPr>
          <a:xfrm>
            <a:off x="9459742" y="1369433"/>
            <a:ext cx="1742439" cy="579646"/>
          </a:xfrm>
          <a:prstGeom prst="rect">
            <a:avLst/>
          </a:prstGeom>
        </p:spPr>
        <p:txBody>
          <a:bodyPr vert="horz" wrap="square" lIns="0" tIns="12700" rIns="0" bIns="0" rtlCol="0">
            <a:spAutoFit/>
          </a:bodyPr>
          <a:lstStyle/>
          <a:p>
            <a:pPr marL="240665" marR="0" lvl="0" indent="-227965" algn="l" defTabSz="914400" rtl="0" eaLnBrk="1" fontAlgn="auto" latinLnBrk="0" hangingPunct="1">
              <a:lnSpc>
                <a:spcPct val="100000"/>
              </a:lnSpc>
              <a:spcBef>
                <a:spcPts val="100"/>
              </a:spcBef>
              <a:spcAft>
                <a:spcPts val="0"/>
              </a:spcAft>
              <a:buClrTx/>
              <a:buSzTx/>
              <a:buFontTx/>
              <a:buChar char="•"/>
              <a:tabLst>
                <a:tab pos="240665" algn="l"/>
              </a:tabLst>
              <a:defRPr/>
            </a:pPr>
            <a:r>
              <a:rPr kumimoji="0" lang="en-US" sz="900" b="0" i="0" u="none" strike="noStrike" kern="1200" cap="none" spc="0" normalizeH="0" baseline="0" noProof="0" dirty="0">
                <a:ln>
                  <a:noFill/>
                </a:ln>
                <a:solidFill>
                  <a:srgbClr val="FFFFFF"/>
                </a:solidFill>
                <a:effectLst/>
                <a:uLnTx/>
                <a:uFillTx/>
                <a:latin typeface="Poppins Medium" pitchFamily="2" charset="77"/>
                <a:ea typeface="+mn-ea"/>
                <a:cs typeface="Poppins Medium" pitchFamily="2" charset="77"/>
              </a:rPr>
              <a:t>No tangible or relevant impact</a:t>
            </a:r>
          </a:p>
          <a:p>
            <a:pPr marL="240665" marR="0" lvl="0" indent="-227965" algn="l" defTabSz="914400" rtl="0" eaLnBrk="1" fontAlgn="auto" latinLnBrk="0" hangingPunct="1">
              <a:lnSpc>
                <a:spcPct val="100000"/>
              </a:lnSpc>
              <a:spcBef>
                <a:spcPts val="100"/>
              </a:spcBef>
              <a:spcAft>
                <a:spcPts val="0"/>
              </a:spcAft>
              <a:buClrTx/>
              <a:buSzTx/>
              <a:buFontTx/>
              <a:buChar char="•"/>
              <a:tabLst>
                <a:tab pos="240665" algn="l"/>
              </a:tabLst>
              <a:defRPr/>
            </a:pPr>
            <a:r>
              <a:rPr lang="en-US" sz="900" dirty="0">
                <a:solidFill>
                  <a:srgbClr val="FFFFFF"/>
                </a:solidFill>
                <a:latin typeface="Poppins Medium" pitchFamily="2" charset="77"/>
                <a:cs typeface="Poppins Medium" pitchFamily="2" charset="77"/>
              </a:rPr>
              <a:t>Feasible under certain conditions in the future</a:t>
            </a:r>
            <a:endParaRPr kumimoji="0" lang="en-US" sz="900" b="0" i="0" u="none" strike="noStrike" kern="1200" cap="none" spc="0" normalizeH="0" baseline="0" noProof="0" dirty="0">
              <a:ln>
                <a:noFill/>
              </a:ln>
              <a:solidFill>
                <a:srgbClr val="304258"/>
              </a:solidFill>
              <a:effectLst/>
              <a:uLnTx/>
              <a:uFillTx/>
              <a:latin typeface="Poppins Medium" pitchFamily="2" charset="77"/>
              <a:ea typeface="+mn-ea"/>
              <a:cs typeface="Poppins Medium" pitchFamily="2" charset="77"/>
            </a:endParaRPr>
          </a:p>
        </p:txBody>
      </p:sp>
      <p:sp>
        <p:nvSpPr>
          <p:cNvPr id="18" name="object 14">
            <a:extLst>
              <a:ext uri="{FF2B5EF4-FFF2-40B4-BE49-F238E27FC236}">
                <a16:creationId xmlns:a16="http://schemas.microsoft.com/office/drawing/2014/main" id="{94B2AD3D-4111-49ED-9EE5-26B42EF92B2A}"/>
              </a:ext>
            </a:extLst>
          </p:cNvPr>
          <p:cNvSpPr txBox="1"/>
          <p:nvPr/>
        </p:nvSpPr>
        <p:spPr>
          <a:xfrm>
            <a:off x="9619198" y="861333"/>
            <a:ext cx="1694814" cy="34544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100" b="1" i="0" u="none" strike="noStrike" kern="1200" cap="none" spc="0" normalizeH="0" baseline="0" dirty="0">
                <a:ln>
                  <a:noFill/>
                </a:ln>
                <a:solidFill>
                  <a:srgbClr val="FFFFFF"/>
                </a:solidFill>
                <a:effectLst/>
                <a:uLnTx/>
                <a:uFillTx/>
                <a:latin typeface="Poppins Medium" pitchFamily="2" charset="77"/>
                <a:ea typeface="+mn-ea"/>
                <a:cs typeface="Poppins Medium" pitchFamily="2" charset="77"/>
              </a:rPr>
              <a:t>Won’t-have</a:t>
            </a:r>
            <a:endParaRPr kumimoji="0" lang="en-US" sz="2100" b="0" i="0" u="none" strike="noStrike" kern="1200" cap="none" spc="0" normalizeH="0" baseline="0" dirty="0">
              <a:ln>
                <a:noFill/>
              </a:ln>
              <a:solidFill>
                <a:srgbClr val="304258"/>
              </a:solidFill>
              <a:effectLst/>
              <a:uLnTx/>
              <a:uFillTx/>
              <a:latin typeface="Poppins Medium" pitchFamily="2" charset="77"/>
              <a:ea typeface="+mn-ea"/>
              <a:cs typeface="Poppins Medium" pitchFamily="2" charset="77"/>
            </a:endParaRPr>
          </a:p>
        </p:txBody>
      </p:sp>
      <p:sp>
        <p:nvSpPr>
          <p:cNvPr id="19" name="CuadroTexto 18">
            <a:extLst>
              <a:ext uri="{FF2B5EF4-FFF2-40B4-BE49-F238E27FC236}">
                <a16:creationId xmlns:a16="http://schemas.microsoft.com/office/drawing/2014/main" id="{2873CFE9-D03A-75A0-41CD-6A25AEA5363D}"/>
              </a:ext>
            </a:extLst>
          </p:cNvPr>
          <p:cNvSpPr txBox="1"/>
          <p:nvPr/>
        </p:nvSpPr>
        <p:spPr>
          <a:xfrm>
            <a:off x="3662214" y="2339424"/>
            <a:ext cx="2240934" cy="1323439"/>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000" b="1" dirty="0">
                <a:solidFill>
                  <a:srgbClr val="304258"/>
                </a:solidFill>
                <a:latin typeface="Poppins"/>
                <a:cs typeface="Poppins"/>
              </a:rPr>
              <a:t>Effective commercial contact </a:t>
            </a:r>
            <a:r>
              <a:rPr lang="en-US" sz="1000" dirty="0">
                <a:solidFill>
                  <a:srgbClr val="304258"/>
                </a:solidFill>
                <a:latin typeface="Poppins"/>
                <a:cs typeface="Poppins"/>
              </a:rPr>
              <a:t>to continue evaluation and negotiation processes with shipping companies</a:t>
            </a:r>
          </a:p>
          <a:p>
            <a:pPr marL="171450" indent="-171450">
              <a:buFont typeface="Arial" panose="020B0604020202020204" pitchFamily="34" charset="0"/>
              <a:buChar char="•"/>
            </a:pPr>
            <a:r>
              <a:rPr lang="en-US" sz="1000" b="1" dirty="0">
                <a:solidFill>
                  <a:srgbClr val="304258"/>
                </a:solidFill>
                <a:latin typeface="Poppins"/>
                <a:cs typeface="Poppins"/>
              </a:rPr>
              <a:t>Search and development of an implementation or improvement plan for a CRM</a:t>
            </a:r>
          </a:p>
        </p:txBody>
      </p:sp>
      <p:sp>
        <p:nvSpPr>
          <p:cNvPr id="20" name="CuadroTexto 19">
            <a:extLst>
              <a:ext uri="{FF2B5EF4-FFF2-40B4-BE49-F238E27FC236}">
                <a16:creationId xmlns:a16="http://schemas.microsoft.com/office/drawing/2014/main" id="{72FE6E52-59F6-9D59-1F9A-337AF1BB903E}"/>
              </a:ext>
            </a:extLst>
          </p:cNvPr>
          <p:cNvSpPr txBox="1"/>
          <p:nvPr/>
        </p:nvSpPr>
        <p:spPr>
          <a:xfrm>
            <a:off x="6445980" y="2339424"/>
            <a:ext cx="2481919" cy="1323439"/>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Implementation of a "Super App" </a:t>
            </a:r>
            <a:r>
              <a:rPr kumimoji="0" lang="en-US" sz="1000" i="0" u="none" strike="noStrike" kern="1200" cap="none" spc="0" normalizeH="0" baseline="0" noProof="0" dirty="0">
                <a:ln>
                  <a:noFill/>
                </a:ln>
                <a:solidFill>
                  <a:srgbClr val="304258"/>
                </a:solidFill>
                <a:effectLst/>
                <a:uLnTx/>
                <a:uFillTx/>
                <a:latin typeface="Poppins"/>
                <a:ea typeface="+mn-ea"/>
                <a:cs typeface="Poppins"/>
              </a:rPr>
              <a:t>that consolidates dispatch information and shipping updates, as well as any other delivery-related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1200" cap="none" spc="0" normalizeH="0" baseline="0" noProof="0" dirty="0">
              <a:ln>
                <a:noFill/>
              </a:ln>
              <a:solidFill>
                <a:srgbClr val="304258"/>
              </a:solidFill>
              <a:effectLst/>
              <a:uLnTx/>
              <a:uFillTx/>
              <a:latin typeface="Poppins"/>
              <a:ea typeface="+mn-ea"/>
              <a:cs typeface="Poppin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04258"/>
                </a:solidFill>
                <a:effectLst/>
                <a:uLnTx/>
                <a:uFillTx/>
                <a:latin typeface="Poppins"/>
                <a:ea typeface="+mn-ea"/>
                <a:cs typeface="Poppins"/>
              </a:rPr>
              <a:t>Offering time slots as a premium shipping option</a:t>
            </a:r>
            <a:endParaRPr kumimoji="0" lang="es-CO" sz="1000" b="1" i="0" u="none" strike="noStrike" kern="1200" cap="none" spc="0" normalizeH="0" baseline="0" noProof="0" dirty="0">
              <a:ln>
                <a:noFill/>
              </a:ln>
              <a:solidFill>
                <a:srgbClr val="304258"/>
              </a:solidFill>
              <a:effectLst/>
              <a:uLnTx/>
              <a:uFillTx/>
              <a:latin typeface="Poppins"/>
              <a:ea typeface="+mn-ea"/>
              <a:cs typeface="Poppins"/>
            </a:endParaRPr>
          </a:p>
        </p:txBody>
      </p:sp>
      <p:sp>
        <p:nvSpPr>
          <p:cNvPr id="22" name="CuadroTexto 21">
            <a:extLst>
              <a:ext uri="{FF2B5EF4-FFF2-40B4-BE49-F238E27FC236}">
                <a16:creationId xmlns:a16="http://schemas.microsoft.com/office/drawing/2014/main" id="{08591055-8488-8EB5-9479-0B1C21FD1347}"/>
              </a:ext>
            </a:extLst>
          </p:cNvPr>
          <p:cNvSpPr txBox="1"/>
          <p:nvPr/>
        </p:nvSpPr>
        <p:spPr>
          <a:xfrm>
            <a:off x="9373499" y="2339424"/>
            <a:ext cx="2328359" cy="1631216"/>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000" b="1" dirty="0">
                <a:solidFill>
                  <a:srgbClr val="304258"/>
                </a:solidFill>
                <a:latin typeface="Poppins"/>
                <a:cs typeface="Poppins"/>
              </a:rPr>
              <a:t>Ensure 24-hour delivery availability </a:t>
            </a:r>
            <a:r>
              <a:rPr lang="en-US" sz="1000" dirty="0"/>
              <a:t>for </a:t>
            </a:r>
            <a:r>
              <a:rPr lang="en-US" sz="1000" dirty="0">
                <a:solidFill>
                  <a:srgbClr val="304258"/>
                </a:solidFill>
                <a:latin typeface="Poppins"/>
                <a:cs typeface="Poppins"/>
              </a:rPr>
              <a:t>Marketplace Best Sellers and </a:t>
            </a:r>
            <a:r>
              <a:rPr lang="en-US" sz="1000" dirty="0" err="1">
                <a:solidFill>
                  <a:srgbClr val="304258"/>
                </a:solidFill>
                <a:latin typeface="Poppins"/>
                <a:cs typeface="Poppins"/>
              </a:rPr>
              <a:t>Có</a:t>
            </a:r>
            <a:r>
              <a:rPr lang="en-US" sz="1000" dirty="0">
                <a:solidFill>
                  <a:srgbClr val="304258"/>
                </a:solidFill>
                <a:latin typeface="Poppins"/>
                <a:cs typeface="Poppins"/>
              </a:rPr>
              <a:t> accessories by consolidating consignment merchandise in a CEDI (Distribution Center)</a:t>
            </a:r>
          </a:p>
          <a:p>
            <a:pPr marL="171450" indent="-171450">
              <a:buFont typeface="Arial" panose="020B0604020202020204" pitchFamily="34" charset="0"/>
              <a:buChar char="•"/>
            </a:pPr>
            <a:r>
              <a:rPr lang="en-US" sz="1000" b="1" dirty="0">
                <a:solidFill>
                  <a:srgbClr val="304258"/>
                </a:solidFill>
                <a:latin typeface="Poppins"/>
                <a:cs typeface="Poppins"/>
              </a:rPr>
              <a:t>Provide special benefits </a:t>
            </a:r>
            <a:r>
              <a:rPr lang="en-US" sz="1000" dirty="0">
                <a:solidFill>
                  <a:srgbClr val="304258"/>
                </a:solidFill>
                <a:latin typeface="Poppins"/>
                <a:cs typeface="Poppins"/>
              </a:rPr>
              <a:t>to customers subscribed to a membership (e.g., free shipping)</a:t>
            </a:r>
          </a:p>
        </p:txBody>
      </p:sp>
      <p:sp>
        <p:nvSpPr>
          <p:cNvPr id="24" name="CuadroTexto 23">
            <a:extLst>
              <a:ext uri="{FF2B5EF4-FFF2-40B4-BE49-F238E27FC236}">
                <a16:creationId xmlns:a16="http://schemas.microsoft.com/office/drawing/2014/main" id="{59A3282F-B8A0-F8E0-74AF-D680B2011970}"/>
              </a:ext>
            </a:extLst>
          </p:cNvPr>
          <p:cNvSpPr txBox="1"/>
          <p:nvPr/>
        </p:nvSpPr>
        <p:spPr>
          <a:xfrm>
            <a:off x="6462565" y="861333"/>
            <a:ext cx="2167290" cy="415498"/>
          </a:xfrm>
          <a:prstGeom prst="rect">
            <a:avLst/>
          </a:prstGeom>
          <a:noFill/>
        </p:spPr>
        <p:txBody>
          <a:bodyPr wrap="square">
            <a:spAutoFit/>
          </a:bodyPr>
          <a:lstStyle/>
          <a:p>
            <a:r>
              <a:rPr kumimoji="0" lang="en-US" sz="2100" b="1" i="0" u="none" strike="noStrike" kern="1200" cap="none" spc="0" normalizeH="0" baseline="0" dirty="0">
                <a:ln>
                  <a:noFill/>
                </a:ln>
                <a:solidFill>
                  <a:srgbClr val="FFFFFF"/>
                </a:solidFill>
                <a:effectLst/>
                <a:uLnTx/>
                <a:uFillTx/>
                <a:latin typeface="Poppins Medium" pitchFamily="2" charset="77"/>
                <a:ea typeface="+mn-ea"/>
                <a:cs typeface="Poppins Medium" pitchFamily="2" charset="77"/>
              </a:rPr>
              <a:t>Could-have</a:t>
            </a:r>
            <a:endParaRPr lang="es-CO" sz="2100" dirty="0"/>
          </a:p>
        </p:txBody>
      </p:sp>
      <p:sp>
        <p:nvSpPr>
          <p:cNvPr id="23" name="TextBox 22">
            <a:extLst>
              <a:ext uri="{FF2B5EF4-FFF2-40B4-BE49-F238E27FC236}">
                <a16:creationId xmlns:a16="http://schemas.microsoft.com/office/drawing/2014/main" id="{3994CB79-889F-67C0-B40B-83415D82976C}"/>
              </a:ext>
            </a:extLst>
          </p:cNvPr>
          <p:cNvSpPr txBox="1"/>
          <p:nvPr/>
        </p:nvSpPr>
        <p:spPr>
          <a:xfrm>
            <a:off x="8839185" y="46226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25" name="Group 24">
            <a:extLst>
              <a:ext uri="{FF2B5EF4-FFF2-40B4-BE49-F238E27FC236}">
                <a16:creationId xmlns:a16="http://schemas.microsoft.com/office/drawing/2014/main" id="{10534C80-F3DB-B320-B8F6-C2CAD215ABA0}"/>
              </a:ext>
            </a:extLst>
          </p:cNvPr>
          <p:cNvGrpSpPr/>
          <p:nvPr/>
        </p:nvGrpSpPr>
        <p:grpSpPr>
          <a:xfrm>
            <a:off x="8853188" y="467609"/>
            <a:ext cx="3141553" cy="266640"/>
            <a:chOff x="8853189" y="1020059"/>
            <a:chExt cx="888390" cy="235526"/>
          </a:xfrm>
        </p:grpSpPr>
        <p:cxnSp>
          <p:nvCxnSpPr>
            <p:cNvPr id="26" name="Straight Connector 25">
              <a:extLst>
                <a:ext uri="{FF2B5EF4-FFF2-40B4-BE49-F238E27FC236}">
                  <a16:creationId xmlns:a16="http://schemas.microsoft.com/office/drawing/2014/main" id="{137DED28-B1EC-851F-50C3-D1543D5BC964}"/>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ED321C-BEA6-F57F-7D8B-EF2035047A43}"/>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6773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57C38481-9E3F-8544-C195-71389E2A5F9F}"/>
              </a:ext>
            </a:extLst>
          </p:cNvPr>
          <p:cNvSpPr txBox="1">
            <a:spLocks/>
          </p:cNvSpPr>
          <p:nvPr/>
        </p:nvSpPr>
        <p:spPr>
          <a:xfrm>
            <a:off x="3890792" y="1830042"/>
            <a:ext cx="8116138" cy="2742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Context and objectives</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methodology</a:t>
            </a:r>
            <a:endParaRPr kumimoji="0" lang="en-US" sz="1800" b="1" i="0" u="none" strike="noStrike" kern="1200" cap="none" spc="0" normalizeH="0" baseline="0" noProof="0" dirty="0">
              <a:ln>
                <a:noFill/>
              </a:ln>
              <a:solidFill>
                <a:srgbClr val="FFFFFF"/>
              </a:solidFill>
              <a:effectLst/>
              <a:uLnTx/>
              <a:uFillTx/>
              <a:latin typeface="Poppins"/>
              <a:ea typeface="+mj-ea"/>
              <a:cs typeface="Poppins"/>
            </a:endParaRPr>
          </a:p>
          <a:p>
            <a:pPr marL="0" marR="0" lvl="0" indent="0" algn="just" defTabSz="914400" rtl="0" eaLnBrk="1" fontAlgn="auto" latinLnBrk="0" hangingPunct="1">
              <a:lnSpc>
                <a:spcPts val="2000"/>
              </a:lnSpc>
              <a:spcBef>
                <a:spcPts val="0"/>
              </a:spcBef>
              <a:spcAft>
                <a:spcPts val="1300"/>
              </a:spcAft>
              <a:buClrTx/>
              <a:buSzTx/>
              <a:buFontTx/>
              <a:buNone/>
              <a:tabLst/>
              <a:defRPr/>
            </a:pPr>
            <a:r>
              <a:rPr lang="en-US" sz="1800" dirty="0">
                <a:solidFill>
                  <a:srgbClr val="FFFFFF"/>
                </a:solidFill>
                <a:latin typeface="Poppins"/>
                <a:cs typeface="Poppins"/>
              </a:rPr>
              <a:t>Why IOTA Impact</a:t>
            </a:r>
            <a:endParaRPr kumimoji="0" lang="en-US" sz="1800" i="0" u="none" strike="noStrike" kern="1200" cap="none" spc="0" normalizeH="0" baseline="0" noProof="0" dirty="0">
              <a:ln>
                <a:noFill/>
              </a:ln>
              <a:solidFill>
                <a:srgbClr val="FFFFFF"/>
              </a:solidFill>
              <a:effectLst/>
              <a:uLnTx/>
              <a:uFillTx/>
              <a:latin typeface="Poppins"/>
              <a:ea typeface="+mj-ea"/>
              <a:cs typeface="Poppins"/>
            </a:endParaRP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Team IOTA and </a:t>
            </a:r>
            <a:r>
              <a:rPr lang="en-US" sz="1800" dirty="0">
                <a:solidFill>
                  <a:srgbClr val="FFFFFF"/>
                </a:solidFill>
                <a:latin typeface="Poppins"/>
                <a:cs typeface="Poppins"/>
              </a:rPr>
              <a:t>timeline</a:t>
            </a:r>
            <a:endParaRPr kumimoji="0" lang="en-US" sz="1800" b="0" i="0" u="none" strike="noStrike" kern="1200" cap="none" spc="0" normalizeH="0" baseline="0" noProof="0" dirty="0">
              <a:ln>
                <a:noFill/>
              </a:ln>
              <a:solidFill>
                <a:srgbClr val="FFFFFF"/>
              </a:solidFill>
              <a:effectLst/>
              <a:uLnTx/>
              <a:uFillTx/>
              <a:latin typeface="Poppins"/>
              <a:ea typeface="+mj-ea"/>
              <a:cs typeface="Poppins"/>
            </a:endParaRPr>
          </a:p>
          <a:p>
            <a:pPr marL="0" marR="0" lvl="0" indent="0" algn="just" defTabSz="914400" rtl="0" eaLnBrk="1" fontAlgn="auto" latinLnBrk="0" hangingPunct="1">
              <a:lnSpc>
                <a:spcPts val="2000"/>
              </a:lnSpc>
              <a:spcBef>
                <a:spcPts val="0"/>
              </a:spcBef>
              <a:spcAft>
                <a:spcPts val="1300"/>
              </a:spcAft>
              <a:buClrTx/>
              <a:buSzTx/>
              <a:buFontTx/>
              <a:buNone/>
              <a:tabLst/>
              <a:defRPr/>
            </a:pPr>
            <a:r>
              <a:rPr lang="en-US" sz="1800" dirty="0">
                <a:solidFill>
                  <a:srgbClr val="FFFFFF"/>
                </a:solidFill>
                <a:latin typeface="Poppins"/>
                <a:cs typeface="Poppins"/>
              </a:rPr>
              <a:t>Proposed investment</a:t>
            </a:r>
            <a:endParaRPr kumimoji="0" lang="en-US" sz="1800" b="0" i="0" u="none" strike="noStrike" kern="1200" cap="none" spc="0" normalizeH="0" baseline="0" noProof="0" dirty="0">
              <a:ln>
                <a:noFill/>
              </a:ln>
              <a:solidFill>
                <a:srgbClr val="FFFFFF"/>
              </a:solidFill>
              <a:effectLst/>
              <a:uLnTx/>
              <a:uFillTx/>
              <a:latin typeface="Poppins"/>
              <a:ea typeface="+mj-ea"/>
              <a:cs typeface="Poppins"/>
            </a:endParaRPr>
          </a:p>
        </p:txBody>
      </p:sp>
      <p:sp>
        <p:nvSpPr>
          <p:cNvPr id="3" name="Google Shape;291;p35">
            <a:extLst>
              <a:ext uri="{FF2B5EF4-FFF2-40B4-BE49-F238E27FC236}">
                <a16:creationId xmlns:a16="http://schemas.microsoft.com/office/drawing/2014/main" id="{917EFD4C-E48B-9C02-591A-3C14F07B8CA5}"/>
              </a:ext>
            </a:extLst>
          </p:cNvPr>
          <p:cNvSpPr txBox="1">
            <a:spLocks noGrp="1"/>
          </p:cNvSpPr>
          <p:nvPr/>
        </p:nvSpPr>
        <p:spPr>
          <a:xfrm>
            <a:off x="2905844" y="2594890"/>
            <a:ext cx="876793" cy="374993"/>
          </a:xfrm>
          <a:prstGeom prst="rect">
            <a:avLst/>
          </a:prstGeom>
          <a:solidFill>
            <a:srgbClr val="B5B9FD"/>
          </a:soli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2</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
        <p:nvSpPr>
          <p:cNvPr id="5" name="Google Shape;289;p35">
            <a:extLst>
              <a:ext uri="{FF2B5EF4-FFF2-40B4-BE49-F238E27FC236}">
                <a16:creationId xmlns:a16="http://schemas.microsoft.com/office/drawing/2014/main" id="{93E2148B-E1E8-A482-ED26-C3F083DD134F}"/>
              </a:ext>
            </a:extLst>
          </p:cNvPr>
          <p:cNvSpPr txBox="1">
            <a:spLocks noGrp="1"/>
          </p:cNvSpPr>
          <p:nvPr/>
        </p:nvSpPr>
        <p:spPr>
          <a:xfrm>
            <a:off x="2905844" y="2176110"/>
            <a:ext cx="876793" cy="374993"/>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b="1" i="0">
                <a:solidFill>
                  <a:srgbClr val="FFFFFF"/>
                </a:solidFill>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1</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
        <p:nvSpPr>
          <p:cNvPr id="9" name="Google Shape;291;p35">
            <a:extLst>
              <a:ext uri="{FF2B5EF4-FFF2-40B4-BE49-F238E27FC236}">
                <a16:creationId xmlns:a16="http://schemas.microsoft.com/office/drawing/2014/main" id="{F34FEE20-819B-7659-489B-C6CB8FA09970}"/>
              </a:ext>
            </a:extLst>
          </p:cNvPr>
          <p:cNvSpPr txBox="1">
            <a:spLocks noGrp="1"/>
          </p:cNvSpPr>
          <p:nvPr/>
        </p:nvSpPr>
        <p:spPr>
          <a:xfrm>
            <a:off x="2905844" y="3013670"/>
            <a:ext cx="876793" cy="374993"/>
          </a:xfrm>
          <a:prstGeom prst="rect">
            <a:avLst/>
          </a:prstGeom>
          <a:solidFill>
            <a:srgbClr val="B5B9FD"/>
          </a:soli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3</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
        <p:nvSpPr>
          <p:cNvPr id="21" name="object 6">
            <a:extLst>
              <a:ext uri="{FF2B5EF4-FFF2-40B4-BE49-F238E27FC236}">
                <a16:creationId xmlns:a16="http://schemas.microsoft.com/office/drawing/2014/main" id="{B08CF098-A2C4-0DAC-DF74-BC0E4E2B6A96}"/>
              </a:ext>
            </a:extLst>
          </p:cNvPr>
          <p:cNvSpPr/>
          <p:nvPr/>
        </p:nvSpPr>
        <p:spPr>
          <a:xfrm rot="5400000">
            <a:off x="1704106" y="731853"/>
            <a:ext cx="1134992" cy="983362"/>
          </a:xfrm>
          <a:custGeom>
            <a:avLst/>
            <a:gdLst/>
            <a:ahLst/>
            <a:cxnLst/>
            <a:rect l="l" t="t" r="r" b="b"/>
            <a:pathLst>
              <a:path w="646429" h="560070">
                <a:moveTo>
                  <a:pt x="323138" y="0"/>
                </a:moveTo>
                <a:lnTo>
                  <a:pt x="0" y="559701"/>
                </a:lnTo>
                <a:lnTo>
                  <a:pt x="164007" y="559701"/>
                </a:lnTo>
                <a:lnTo>
                  <a:pt x="323138" y="284086"/>
                </a:lnTo>
                <a:lnTo>
                  <a:pt x="482269" y="559701"/>
                </a:lnTo>
                <a:lnTo>
                  <a:pt x="646277" y="559701"/>
                </a:lnTo>
                <a:lnTo>
                  <a:pt x="323138" y="0"/>
                </a:lnTo>
                <a:close/>
              </a:path>
            </a:pathLst>
          </a:custGeom>
          <a:solidFill>
            <a:srgbClr val="8D80FF">
              <a:alpha val="20000"/>
            </a:srgbClr>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dirty="0">
              <a:ln>
                <a:noFill/>
              </a:ln>
              <a:solidFill>
                <a:srgbClr val="000000"/>
              </a:solidFill>
              <a:effectLst/>
              <a:uLnTx/>
              <a:uFillTx/>
              <a:latin typeface="Arial"/>
              <a:cs typeface="Arial"/>
              <a:sym typeface="Arial"/>
            </a:endParaRPr>
          </a:p>
        </p:txBody>
      </p:sp>
      <p:sp>
        <p:nvSpPr>
          <p:cNvPr id="6" name="Título 1">
            <a:extLst>
              <a:ext uri="{FF2B5EF4-FFF2-40B4-BE49-F238E27FC236}">
                <a16:creationId xmlns:a16="http://schemas.microsoft.com/office/drawing/2014/main" id="{A1C91E4D-A927-263A-8677-2AE4226F53B3}"/>
              </a:ext>
            </a:extLst>
          </p:cNvPr>
          <p:cNvSpPr txBox="1">
            <a:spLocks/>
          </p:cNvSpPr>
          <p:nvPr/>
        </p:nvSpPr>
        <p:spPr>
          <a:xfrm>
            <a:off x="618006" y="976028"/>
            <a:ext cx="2145277" cy="471639"/>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3200" b="1" i="0" u="none" strike="noStrike" kern="1200" cap="none" spc="0" normalizeH="0" baseline="0" noProof="0" dirty="0">
                <a:ln>
                  <a:noFill/>
                </a:ln>
                <a:solidFill>
                  <a:srgbClr val="FFFFFF"/>
                </a:solidFill>
                <a:effectLst/>
                <a:uLnTx/>
                <a:uFillTx/>
                <a:latin typeface="Poppins"/>
                <a:ea typeface="+mj-ea"/>
                <a:cs typeface="+mj-cs"/>
              </a:rPr>
              <a:t>Content</a:t>
            </a:r>
          </a:p>
        </p:txBody>
      </p:sp>
      <p:sp>
        <p:nvSpPr>
          <p:cNvPr id="2" name="Google Shape;289;p35">
            <a:extLst>
              <a:ext uri="{FF2B5EF4-FFF2-40B4-BE49-F238E27FC236}">
                <a16:creationId xmlns:a16="http://schemas.microsoft.com/office/drawing/2014/main" id="{410BB48F-3A62-D028-E675-3261523B6CE7}"/>
              </a:ext>
            </a:extLst>
          </p:cNvPr>
          <p:cNvSpPr txBox="1">
            <a:spLocks noGrp="1"/>
          </p:cNvSpPr>
          <p:nvPr/>
        </p:nvSpPr>
        <p:spPr>
          <a:xfrm>
            <a:off x="2905844" y="3432450"/>
            <a:ext cx="876793" cy="374993"/>
          </a:xfrm>
          <a:prstGeom prst="rect">
            <a:avLst/>
          </a:prstGeom>
          <a:solidFill>
            <a:srgbClr val="B5B9FD"/>
          </a:soli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4</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
        <p:nvSpPr>
          <p:cNvPr id="7" name="Google Shape;289;p35">
            <a:extLst>
              <a:ext uri="{FF2B5EF4-FFF2-40B4-BE49-F238E27FC236}">
                <a16:creationId xmlns:a16="http://schemas.microsoft.com/office/drawing/2014/main" id="{1CC0F131-0D3E-34F6-B5C4-68CC52DDD248}"/>
              </a:ext>
            </a:extLst>
          </p:cNvPr>
          <p:cNvSpPr txBox="1">
            <a:spLocks noGrp="1"/>
          </p:cNvSpPr>
          <p:nvPr/>
        </p:nvSpPr>
        <p:spPr>
          <a:xfrm>
            <a:off x="2905844" y="3855071"/>
            <a:ext cx="876793" cy="374993"/>
          </a:xfrm>
          <a:prstGeom prst="rect">
            <a:avLst/>
          </a:prstGeom>
          <a:solidFill>
            <a:srgbClr val="B5B9FD"/>
          </a:soli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a:t>
            </a:r>
            <a:r>
              <a:rPr kumimoji="0" lang="en" sz="1800" b="1" i="0" u="none" strike="noStrike" kern="1200" cap="none" spc="0" normalizeH="0" baseline="0" noProof="0" dirty="0">
                <a:ln>
                  <a:noFill/>
                </a:ln>
                <a:solidFill>
                  <a:srgbClr val="FFFFFF"/>
                </a:solidFill>
                <a:effectLst/>
                <a:uLnTx/>
                <a:uFillTx/>
                <a:latin typeface="Poppins"/>
                <a:ea typeface="+mj-ea"/>
                <a:cs typeface="+mj-cs"/>
              </a:rPr>
              <a:t>5</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Tree>
    <p:extLst>
      <p:ext uri="{BB962C8B-B14F-4D97-AF65-F5344CB8AC3E}">
        <p14:creationId xmlns:p14="http://schemas.microsoft.com/office/powerpoint/2010/main" val="25085618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57C38481-9E3F-8544-C195-71389E2A5F9F}"/>
              </a:ext>
            </a:extLst>
          </p:cNvPr>
          <p:cNvSpPr txBox="1">
            <a:spLocks/>
          </p:cNvSpPr>
          <p:nvPr/>
        </p:nvSpPr>
        <p:spPr>
          <a:xfrm>
            <a:off x="3890792" y="1830042"/>
            <a:ext cx="8116138" cy="2742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Context and objectives</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methodology</a:t>
            </a:r>
            <a:endParaRPr kumimoji="0" lang="en-US" sz="1800" b="1" i="0" u="none" strike="noStrike" kern="1200" cap="none" spc="0" normalizeH="0" baseline="0" noProof="0" dirty="0">
              <a:ln>
                <a:noFill/>
              </a:ln>
              <a:solidFill>
                <a:srgbClr val="FFFFFF"/>
              </a:solidFill>
              <a:effectLst/>
              <a:uLnTx/>
              <a:uFillTx/>
              <a:latin typeface="Poppins"/>
              <a:ea typeface="+mj-ea"/>
              <a:cs typeface="Poppins"/>
            </a:endParaRP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Why IOTA Impact</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Team IOTA and timeline</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investment</a:t>
            </a:r>
          </a:p>
        </p:txBody>
      </p:sp>
      <p:sp>
        <p:nvSpPr>
          <p:cNvPr id="3" name="Google Shape;291;p35">
            <a:extLst>
              <a:ext uri="{FF2B5EF4-FFF2-40B4-BE49-F238E27FC236}">
                <a16:creationId xmlns:a16="http://schemas.microsoft.com/office/drawing/2014/main" id="{917EFD4C-E48B-9C02-591A-3C14F07B8CA5}"/>
              </a:ext>
            </a:extLst>
          </p:cNvPr>
          <p:cNvSpPr txBox="1">
            <a:spLocks noGrp="1"/>
          </p:cNvSpPr>
          <p:nvPr/>
        </p:nvSpPr>
        <p:spPr>
          <a:xfrm>
            <a:off x="2905844" y="259489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dirty="0"/>
              <a:t>02</a:t>
            </a:r>
            <a:endParaRPr dirty="0"/>
          </a:p>
        </p:txBody>
      </p:sp>
      <p:sp>
        <p:nvSpPr>
          <p:cNvPr id="5" name="Google Shape;289;p35">
            <a:extLst>
              <a:ext uri="{FF2B5EF4-FFF2-40B4-BE49-F238E27FC236}">
                <a16:creationId xmlns:a16="http://schemas.microsoft.com/office/drawing/2014/main" id="{93E2148B-E1E8-A482-ED26-C3F083DD134F}"/>
              </a:ext>
            </a:extLst>
          </p:cNvPr>
          <p:cNvSpPr txBox="1">
            <a:spLocks noGrp="1"/>
          </p:cNvSpPr>
          <p:nvPr/>
        </p:nvSpPr>
        <p:spPr>
          <a:xfrm>
            <a:off x="2905844" y="217611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1</a:t>
            </a:r>
            <a:endParaRPr/>
          </a:p>
        </p:txBody>
      </p:sp>
      <p:sp>
        <p:nvSpPr>
          <p:cNvPr id="9" name="Google Shape;291;p35">
            <a:extLst>
              <a:ext uri="{FF2B5EF4-FFF2-40B4-BE49-F238E27FC236}">
                <a16:creationId xmlns:a16="http://schemas.microsoft.com/office/drawing/2014/main" id="{F34FEE20-819B-7659-489B-C6CB8FA09970}"/>
              </a:ext>
            </a:extLst>
          </p:cNvPr>
          <p:cNvSpPr txBox="1">
            <a:spLocks noGrp="1"/>
          </p:cNvSpPr>
          <p:nvPr/>
        </p:nvSpPr>
        <p:spPr>
          <a:xfrm>
            <a:off x="2905844" y="3013670"/>
            <a:ext cx="876793" cy="374993"/>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3</a:t>
            </a:r>
            <a:endParaRPr/>
          </a:p>
        </p:txBody>
      </p:sp>
      <p:sp>
        <p:nvSpPr>
          <p:cNvPr id="21" name="object 6">
            <a:extLst>
              <a:ext uri="{FF2B5EF4-FFF2-40B4-BE49-F238E27FC236}">
                <a16:creationId xmlns:a16="http://schemas.microsoft.com/office/drawing/2014/main" id="{B08CF098-A2C4-0DAC-DF74-BC0E4E2B6A96}"/>
              </a:ext>
            </a:extLst>
          </p:cNvPr>
          <p:cNvSpPr/>
          <p:nvPr/>
        </p:nvSpPr>
        <p:spPr>
          <a:xfrm rot="5400000">
            <a:off x="1704106" y="731853"/>
            <a:ext cx="1134992" cy="983362"/>
          </a:xfrm>
          <a:custGeom>
            <a:avLst/>
            <a:gdLst/>
            <a:ahLst/>
            <a:cxnLst/>
            <a:rect l="l" t="t" r="r" b="b"/>
            <a:pathLst>
              <a:path w="646429" h="560070">
                <a:moveTo>
                  <a:pt x="323138" y="0"/>
                </a:moveTo>
                <a:lnTo>
                  <a:pt x="0" y="559701"/>
                </a:lnTo>
                <a:lnTo>
                  <a:pt x="164007" y="559701"/>
                </a:lnTo>
                <a:lnTo>
                  <a:pt x="323138" y="284086"/>
                </a:lnTo>
                <a:lnTo>
                  <a:pt x="482269" y="559701"/>
                </a:lnTo>
                <a:lnTo>
                  <a:pt x="646277" y="559701"/>
                </a:lnTo>
                <a:lnTo>
                  <a:pt x="323138" y="0"/>
                </a:lnTo>
                <a:close/>
              </a:path>
            </a:pathLst>
          </a:custGeom>
          <a:solidFill>
            <a:srgbClr val="8D80FF">
              <a:alpha val="20000"/>
            </a:srgbClr>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rial"/>
              <a:cs typeface="Arial"/>
              <a:sym typeface="Arial"/>
            </a:endParaRPr>
          </a:p>
        </p:txBody>
      </p:sp>
      <p:sp>
        <p:nvSpPr>
          <p:cNvPr id="6" name="Título 1">
            <a:extLst>
              <a:ext uri="{FF2B5EF4-FFF2-40B4-BE49-F238E27FC236}">
                <a16:creationId xmlns:a16="http://schemas.microsoft.com/office/drawing/2014/main" id="{A1C91E4D-A927-263A-8677-2AE4226F53B3}"/>
              </a:ext>
            </a:extLst>
          </p:cNvPr>
          <p:cNvSpPr txBox="1">
            <a:spLocks/>
          </p:cNvSpPr>
          <p:nvPr/>
        </p:nvSpPr>
        <p:spPr>
          <a:xfrm>
            <a:off x="618006" y="976028"/>
            <a:ext cx="2145277" cy="471639"/>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3200" b="1" i="0" u="none" strike="noStrike" kern="1200" cap="none" spc="0" normalizeH="0" baseline="0" noProof="0" dirty="0">
                <a:ln>
                  <a:noFill/>
                </a:ln>
                <a:solidFill>
                  <a:srgbClr val="FFFFFF"/>
                </a:solidFill>
                <a:effectLst/>
                <a:uLnTx/>
                <a:uFillTx/>
                <a:latin typeface="Poppins"/>
                <a:ea typeface="+mj-ea"/>
                <a:cs typeface="+mj-cs"/>
              </a:rPr>
              <a:t>Content</a:t>
            </a:r>
          </a:p>
        </p:txBody>
      </p:sp>
      <p:sp>
        <p:nvSpPr>
          <p:cNvPr id="2" name="Google Shape;289;p35">
            <a:extLst>
              <a:ext uri="{FF2B5EF4-FFF2-40B4-BE49-F238E27FC236}">
                <a16:creationId xmlns:a16="http://schemas.microsoft.com/office/drawing/2014/main" id="{410BB48F-3A62-D028-E675-3261523B6CE7}"/>
              </a:ext>
            </a:extLst>
          </p:cNvPr>
          <p:cNvSpPr txBox="1">
            <a:spLocks noGrp="1"/>
          </p:cNvSpPr>
          <p:nvPr/>
        </p:nvSpPr>
        <p:spPr>
          <a:xfrm>
            <a:off x="2905844" y="3432450"/>
            <a:ext cx="876793" cy="374993"/>
          </a:xfrm>
          <a:prstGeom prst="rect">
            <a:avLst/>
          </a:prstGeom>
          <a:solidFill>
            <a:srgbClr val="B5B9FD"/>
          </a:soli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4</a:t>
            </a:r>
            <a:endParaRPr kumimoji="0" sz="1800" b="1" i="0" u="none" strike="noStrike" kern="1200" cap="none" spc="0" normalizeH="0" baseline="0" noProof="0">
              <a:ln>
                <a:noFill/>
              </a:ln>
              <a:solidFill>
                <a:srgbClr val="FFFFFF"/>
              </a:solidFill>
              <a:effectLst/>
              <a:uLnTx/>
              <a:uFillTx/>
              <a:latin typeface="Poppins"/>
              <a:ea typeface="+mj-ea"/>
              <a:cs typeface="+mj-cs"/>
            </a:endParaRPr>
          </a:p>
        </p:txBody>
      </p:sp>
      <p:sp>
        <p:nvSpPr>
          <p:cNvPr id="7" name="Google Shape;289;p35">
            <a:extLst>
              <a:ext uri="{FF2B5EF4-FFF2-40B4-BE49-F238E27FC236}">
                <a16:creationId xmlns:a16="http://schemas.microsoft.com/office/drawing/2014/main" id="{1CC0F131-0D3E-34F6-B5C4-68CC52DDD248}"/>
              </a:ext>
            </a:extLst>
          </p:cNvPr>
          <p:cNvSpPr txBox="1">
            <a:spLocks noGrp="1"/>
          </p:cNvSpPr>
          <p:nvPr/>
        </p:nvSpPr>
        <p:spPr>
          <a:xfrm>
            <a:off x="2905844" y="3855071"/>
            <a:ext cx="876793" cy="374993"/>
          </a:xfrm>
          <a:prstGeom prst="rect">
            <a:avLst/>
          </a:prstGeom>
          <a:solidFill>
            <a:srgbClr val="B5B9FD"/>
          </a:soli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a:t>
            </a:r>
            <a:r>
              <a:rPr kumimoji="0" lang="en" sz="1800" b="1" i="0" u="none" strike="noStrike" kern="1200" cap="none" spc="0" normalizeH="0" baseline="0" noProof="0" dirty="0">
                <a:ln>
                  <a:noFill/>
                </a:ln>
                <a:solidFill>
                  <a:srgbClr val="FFFFFF"/>
                </a:solidFill>
                <a:effectLst/>
                <a:uLnTx/>
                <a:uFillTx/>
                <a:latin typeface="Poppins"/>
                <a:ea typeface="+mj-ea"/>
                <a:cs typeface="+mj-cs"/>
              </a:rPr>
              <a:t>5</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Tree>
    <p:extLst>
      <p:ext uri="{BB962C8B-B14F-4D97-AF65-F5344CB8AC3E}">
        <p14:creationId xmlns:p14="http://schemas.microsoft.com/office/powerpoint/2010/main" val="22731581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E79E62D-26CF-7705-8486-F7B7D7486E09}"/>
              </a:ext>
            </a:extLst>
          </p:cNvPr>
          <p:cNvSpPr>
            <a:spLocks noGrp="1"/>
          </p:cNvSpPr>
          <p:nvPr>
            <p:ph type="title"/>
          </p:nvPr>
        </p:nvSpPr>
        <p:spPr>
          <a:xfrm>
            <a:off x="1249811" y="2223717"/>
            <a:ext cx="4285891" cy="989223"/>
          </a:xfrm>
        </p:spPr>
        <p:txBody>
          <a:bodyPr>
            <a:noAutofit/>
          </a:bodyPr>
          <a:lstStyle/>
          <a:p>
            <a:r>
              <a:rPr lang="es-CO" sz="3200" b="1" spc="-150" dirty="0">
                <a:solidFill>
                  <a:srgbClr val="422D90"/>
                </a:solidFill>
                <a:latin typeface="Poppins" panose="00000500000000000000" pitchFamily="2" charset="0"/>
                <a:cs typeface="Poppins" panose="00000500000000000000" pitchFamily="2" charset="0"/>
              </a:rPr>
              <a:t>The IOTA</a:t>
            </a:r>
            <a:br>
              <a:rPr lang="es-CO" sz="3200" b="1" spc="-150" dirty="0">
                <a:solidFill>
                  <a:schemeClr val="bg1"/>
                </a:solidFill>
                <a:latin typeface="Poppins" panose="00000500000000000000" pitchFamily="2" charset="0"/>
                <a:cs typeface="Poppins" panose="00000500000000000000" pitchFamily="2" charset="0"/>
              </a:rPr>
            </a:br>
            <a:r>
              <a:rPr lang="es-CO" sz="3200" b="1" spc="-150" dirty="0">
                <a:solidFill>
                  <a:srgbClr val="9583FF"/>
                </a:solidFill>
                <a:latin typeface="Poppins" panose="00000500000000000000" pitchFamily="2" charset="0"/>
                <a:cs typeface="Poppins" panose="00000500000000000000" pitchFamily="2" charset="0"/>
              </a:rPr>
              <a:t>Differential.</a:t>
            </a:r>
          </a:p>
        </p:txBody>
      </p:sp>
      <p:sp>
        <p:nvSpPr>
          <p:cNvPr id="10" name="Título 1">
            <a:extLst>
              <a:ext uri="{FF2B5EF4-FFF2-40B4-BE49-F238E27FC236}">
                <a16:creationId xmlns:a16="http://schemas.microsoft.com/office/drawing/2014/main" id="{CBDFD6D3-BB2C-4B28-22FE-4328061C3E05}"/>
              </a:ext>
            </a:extLst>
          </p:cNvPr>
          <p:cNvSpPr txBox="1">
            <a:spLocks/>
          </p:cNvSpPr>
          <p:nvPr/>
        </p:nvSpPr>
        <p:spPr>
          <a:xfrm>
            <a:off x="1276392" y="3576963"/>
            <a:ext cx="4820729" cy="9892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en-US" sz="1400" dirty="0">
                <a:solidFill>
                  <a:schemeClr val="bg2">
                    <a:lumMod val="25000"/>
                  </a:schemeClr>
                </a:solidFill>
                <a:latin typeface="Poppins"/>
                <a:cs typeface="Poppins"/>
              </a:rPr>
              <a:t>At IOTA Impact, we steer and execute. Our rapid, data-driven insights accelerate ROI. We're more than strategy – we're your partners for market success. </a:t>
            </a:r>
          </a:p>
          <a:p>
            <a:pPr algn="just"/>
            <a:endParaRPr lang="en-US" sz="1400" dirty="0">
              <a:solidFill>
                <a:schemeClr val="bg2">
                  <a:lumMod val="25000"/>
                </a:schemeClr>
              </a:solidFill>
              <a:latin typeface="Poppins"/>
              <a:cs typeface="Poppins"/>
            </a:endParaRPr>
          </a:p>
          <a:p>
            <a:pPr algn="just"/>
            <a:r>
              <a:rPr lang="en-US" sz="1400" dirty="0">
                <a:solidFill>
                  <a:schemeClr val="bg2">
                    <a:lumMod val="25000"/>
                  </a:schemeClr>
                </a:solidFill>
                <a:latin typeface="Poppins"/>
                <a:cs typeface="Poppins"/>
              </a:rPr>
              <a:t>As pioneers in automation and sustainability, we're your co-pilots for scalable success. That's the IOTA difference.</a:t>
            </a:r>
            <a:endParaRPr lang="es-CO" sz="1400" dirty="0">
              <a:solidFill>
                <a:schemeClr val="bg2">
                  <a:lumMod val="25000"/>
                </a:schemeClr>
              </a:solidFill>
              <a:latin typeface="Poppins"/>
              <a:cs typeface="Poppins"/>
            </a:endParaRPr>
          </a:p>
        </p:txBody>
      </p:sp>
      <p:pic>
        <p:nvPicPr>
          <p:cNvPr id="8" name="Imagen 7">
            <a:extLst>
              <a:ext uri="{FF2B5EF4-FFF2-40B4-BE49-F238E27FC236}">
                <a16:creationId xmlns:a16="http://schemas.microsoft.com/office/drawing/2014/main" id="{8F77494F-B043-2328-0A28-430999B4F4C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09121" y="1790067"/>
            <a:ext cx="4285216" cy="1316268"/>
          </a:xfrm>
          <a:prstGeom prst="rect">
            <a:avLst/>
          </a:prstGeom>
        </p:spPr>
      </p:pic>
      <p:pic>
        <p:nvPicPr>
          <p:cNvPr id="12" name="Imagen 11">
            <a:extLst>
              <a:ext uri="{FF2B5EF4-FFF2-40B4-BE49-F238E27FC236}">
                <a16:creationId xmlns:a16="http://schemas.microsoft.com/office/drawing/2014/main" id="{F1B25813-4A68-86B4-2E47-E31C715B7E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09120" y="818644"/>
            <a:ext cx="4285215" cy="1316268"/>
          </a:xfrm>
          <a:prstGeom prst="rect">
            <a:avLst/>
          </a:prstGeom>
        </p:spPr>
      </p:pic>
      <p:pic>
        <p:nvPicPr>
          <p:cNvPr id="14" name="Imagen 13">
            <a:extLst>
              <a:ext uri="{FF2B5EF4-FFF2-40B4-BE49-F238E27FC236}">
                <a16:creationId xmlns:a16="http://schemas.microsoft.com/office/drawing/2014/main" id="{11C2046F-2960-0743-6EE7-8AAD634D6E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9123" y="2733498"/>
            <a:ext cx="4285214" cy="1316268"/>
          </a:xfrm>
          <a:prstGeom prst="rect">
            <a:avLst/>
          </a:prstGeom>
        </p:spPr>
      </p:pic>
      <p:pic>
        <p:nvPicPr>
          <p:cNvPr id="16" name="Imagen 15">
            <a:extLst>
              <a:ext uri="{FF2B5EF4-FFF2-40B4-BE49-F238E27FC236}">
                <a16:creationId xmlns:a16="http://schemas.microsoft.com/office/drawing/2014/main" id="{7A57323F-E95E-1CC0-5FB4-5DF720CF9E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67072" y="4421691"/>
            <a:ext cx="4962775" cy="1699019"/>
          </a:xfrm>
          <a:prstGeom prst="rect">
            <a:avLst/>
          </a:prstGeom>
        </p:spPr>
      </p:pic>
      <p:sp>
        <p:nvSpPr>
          <p:cNvPr id="18" name="CuadroTexto 17">
            <a:extLst>
              <a:ext uri="{FF2B5EF4-FFF2-40B4-BE49-F238E27FC236}">
                <a16:creationId xmlns:a16="http://schemas.microsoft.com/office/drawing/2014/main" id="{DDEED012-49EE-F5EB-2DD2-23126693F84E}"/>
              </a:ext>
            </a:extLst>
          </p:cNvPr>
          <p:cNvSpPr txBox="1"/>
          <p:nvPr/>
        </p:nvSpPr>
        <p:spPr>
          <a:xfrm>
            <a:off x="8329435" y="4237025"/>
            <a:ext cx="2138540" cy="369332"/>
          </a:xfrm>
          <a:prstGeom prst="rect">
            <a:avLst/>
          </a:prstGeom>
          <a:noFill/>
        </p:spPr>
        <p:txBody>
          <a:bodyPr wrap="square">
            <a:spAutoFit/>
          </a:bodyPr>
          <a:lstStyle/>
          <a:p>
            <a:pPr algn="ctr"/>
            <a:r>
              <a:rPr lang="es-CO" sz="1800" b="1" spc="-150" dirty="0">
                <a:solidFill>
                  <a:srgbClr val="9583FF"/>
                </a:solidFill>
                <a:latin typeface="Poppins" panose="00000500000000000000" pitchFamily="2" charset="0"/>
                <a:cs typeface="Poppins" panose="00000500000000000000" pitchFamily="2" charset="0"/>
              </a:rPr>
              <a:t>Our Partners</a:t>
            </a:r>
            <a:endParaRPr lang="es-CO" dirty="0"/>
          </a:p>
        </p:txBody>
      </p:sp>
      <p:pic>
        <p:nvPicPr>
          <p:cNvPr id="3" name="Picture 2" descr="Global Property Management Group Odevo Continues U.S. Expansion With ...">
            <a:extLst>
              <a:ext uri="{FF2B5EF4-FFF2-40B4-BE49-F238E27FC236}">
                <a16:creationId xmlns:a16="http://schemas.microsoft.com/office/drawing/2014/main" id="{49B3A58C-5300-6769-F787-2214A255AE3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83606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6E099945-6E1E-3091-0065-3BB294DC61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56663" y="3895832"/>
            <a:ext cx="4551445" cy="2971443"/>
          </a:xfrm>
          <a:prstGeom prst="rect">
            <a:avLst/>
          </a:prstGeom>
        </p:spPr>
      </p:pic>
      <p:sp>
        <p:nvSpPr>
          <p:cNvPr id="159" name="TextBox 158">
            <a:extLst>
              <a:ext uri="{FF2B5EF4-FFF2-40B4-BE49-F238E27FC236}">
                <a16:creationId xmlns:a16="http://schemas.microsoft.com/office/drawing/2014/main" id="{0CAA0030-4B75-DF4E-997E-D84595D8D3E0}"/>
              </a:ext>
            </a:extLst>
          </p:cNvPr>
          <p:cNvSpPr txBox="1"/>
          <p:nvPr/>
        </p:nvSpPr>
        <p:spPr>
          <a:xfrm>
            <a:off x="1072718" y="1370159"/>
            <a:ext cx="43794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1.</a:t>
            </a:r>
          </a:p>
        </p:txBody>
      </p:sp>
      <p:sp>
        <p:nvSpPr>
          <p:cNvPr id="53" name="Title 52">
            <a:extLst>
              <a:ext uri="{FF2B5EF4-FFF2-40B4-BE49-F238E27FC236}">
                <a16:creationId xmlns:a16="http://schemas.microsoft.com/office/drawing/2014/main" id="{DFBF3D69-8EDB-250D-D898-E7D2074E232F}"/>
              </a:ext>
            </a:extLst>
          </p:cNvPr>
          <p:cNvSpPr>
            <a:spLocks noGrp="1"/>
          </p:cNvSpPr>
          <p:nvPr>
            <p:ph type="title"/>
          </p:nvPr>
        </p:nvSpPr>
        <p:spPr>
          <a:xfrm>
            <a:off x="1112742" y="201131"/>
            <a:ext cx="10550013" cy="798836"/>
          </a:xfrm>
        </p:spPr>
        <p:txBody>
          <a:bodyPr/>
          <a:lstStyle/>
          <a:p>
            <a:r>
              <a:rPr lang="en-US" b="1" dirty="0">
                <a:cs typeface="Poppins"/>
              </a:rPr>
              <a:t>Strategic Agility, </a:t>
            </a:r>
            <a:r>
              <a:rPr lang="en-US" dirty="0">
                <a:solidFill>
                  <a:srgbClr val="8D80FF"/>
                </a:solidFill>
                <a:cs typeface="Poppins"/>
              </a:rPr>
              <a:t>Enhanced Growth</a:t>
            </a:r>
            <a:endParaRPr lang="en-US" dirty="0">
              <a:solidFill>
                <a:srgbClr val="8D80FF"/>
              </a:solidFill>
            </a:endParaRPr>
          </a:p>
        </p:txBody>
      </p:sp>
      <p:grpSp>
        <p:nvGrpSpPr>
          <p:cNvPr id="27" name="Grupo 26">
            <a:extLst>
              <a:ext uri="{FF2B5EF4-FFF2-40B4-BE49-F238E27FC236}">
                <a16:creationId xmlns:a16="http://schemas.microsoft.com/office/drawing/2014/main" id="{6669CA5E-38D5-3495-FE77-DC715E522724}"/>
              </a:ext>
            </a:extLst>
          </p:cNvPr>
          <p:cNvGrpSpPr/>
          <p:nvPr/>
        </p:nvGrpSpPr>
        <p:grpSpPr>
          <a:xfrm>
            <a:off x="1069856" y="1112450"/>
            <a:ext cx="2882954" cy="2964524"/>
            <a:chOff x="1069856" y="1112450"/>
            <a:chExt cx="2882954" cy="2964524"/>
          </a:xfrm>
        </p:grpSpPr>
        <p:sp>
          <p:nvSpPr>
            <p:cNvPr id="29" name="Título 1">
              <a:extLst>
                <a:ext uri="{FF2B5EF4-FFF2-40B4-BE49-F238E27FC236}">
                  <a16:creationId xmlns:a16="http://schemas.microsoft.com/office/drawing/2014/main" id="{76907E68-812D-7DCC-15AC-31463F99AB2A}"/>
                </a:ext>
              </a:extLst>
            </p:cNvPr>
            <p:cNvSpPr txBox="1">
              <a:spLocks/>
            </p:cNvSpPr>
            <p:nvPr/>
          </p:nvSpPr>
          <p:spPr>
            <a:xfrm>
              <a:off x="1210631" y="1203021"/>
              <a:ext cx="2742179" cy="28739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b="1" dirty="0">
                  <a:solidFill>
                    <a:srgbClr val="9583FF"/>
                  </a:solidFill>
                  <a:latin typeface="Poppins"/>
                  <a:cs typeface="Poppins"/>
                </a:rPr>
                <a:t>Customized Tech Ecosystem Enhancements:</a:t>
              </a:r>
            </a:p>
            <a:p>
              <a:endParaRPr lang="en-US" sz="1400" b="1" dirty="0">
                <a:solidFill>
                  <a:srgbClr val="9583FF"/>
                </a:solidFill>
                <a:latin typeface="Poppins"/>
                <a:cs typeface="Poppins"/>
              </a:endParaRPr>
            </a:p>
            <a:p>
              <a:r>
                <a:rPr lang="en-US" sz="1400" dirty="0">
                  <a:latin typeface="Poppins"/>
                  <a:cs typeface="Poppins"/>
                </a:rPr>
                <a:t>IOTA Impact's offerings are tailored to industry leaders providing strategic flexibility and responsiveness to dynamic market shifts.</a:t>
              </a:r>
              <a:endParaRPr lang="es-CO" sz="1400" dirty="0">
                <a:latin typeface="Poppins"/>
                <a:cs typeface="Poppins"/>
              </a:endParaRPr>
            </a:p>
          </p:txBody>
        </p:sp>
        <p:sp>
          <p:nvSpPr>
            <p:cNvPr id="30" name="Triángulo isósceles 18">
              <a:extLst>
                <a:ext uri="{FF2B5EF4-FFF2-40B4-BE49-F238E27FC236}">
                  <a16:creationId xmlns:a16="http://schemas.microsoft.com/office/drawing/2014/main" id="{CE3D3C11-8787-BBFC-D9D6-21A9C3FFBF96}"/>
                </a:ext>
              </a:extLst>
            </p:cNvPr>
            <p:cNvSpPr/>
            <p:nvPr/>
          </p:nvSpPr>
          <p:spPr>
            <a:xfrm rot="5400000">
              <a:off x="1058594" y="1908645"/>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sz="1400" dirty="0"/>
            </a:p>
          </p:txBody>
        </p:sp>
        <p:sp>
          <p:nvSpPr>
            <p:cNvPr id="2" name="Rectángulo 1">
              <a:extLst>
                <a:ext uri="{FF2B5EF4-FFF2-40B4-BE49-F238E27FC236}">
                  <a16:creationId xmlns:a16="http://schemas.microsoft.com/office/drawing/2014/main" id="{4DDF417E-070E-9C81-2F90-FFC529DA553C}"/>
                </a:ext>
              </a:extLst>
            </p:cNvPr>
            <p:cNvSpPr/>
            <p:nvPr/>
          </p:nvSpPr>
          <p:spPr>
            <a:xfrm>
              <a:off x="1291688" y="1647158"/>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3" name="Imagen 2">
              <a:extLst>
                <a:ext uri="{FF2B5EF4-FFF2-40B4-BE49-F238E27FC236}">
                  <a16:creationId xmlns:a16="http://schemas.microsoft.com/office/drawing/2014/main" id="{911BF305-B984-B6C4-9D3C-16F60C5967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9123" y="1112450"/>
              <a:ext cx="423070" cy="423070"/>
            </a:xfrm>
            <a:prstGeom prst="rect">
              <a:avLst/>
            </a:prstGeom>
          </p:spPr>
        </p:pic>
      </p:grpSp>
      <p:grpSp>
        <p:nvGrpSpPr>
          <p:cNvPr id="40" name="Grupo 39">
            <a:extLst>
              <a:ext uri="{FF2B5EF4-FFF2-40B4-BE49-F238E27FC236}">
                <a16:creationId xmlns:a16="http://schemas.microsoft.com/office/drawing/2014/main" id="{B9A5A0C5-EBEF-4B45-D9C4-EC8ECFD55D83}"/>
              </a:ext>
            </a:extLst>
          </p:cNvPr>
          <p:cNvGrpSpPr/>
          <p:nvPr/>
        </p:nvGrpSpPr>
        <p:grpSpPr>
          <a:xfrm>
            <a:off x="4203796" y="3902425"/>
            <a:ext cx="2893690" cy="2687982"/>
            <a:chOff x="4203796" y="3902425"/>
            <a:chExt cx="2893690" cy="2687982"/>
          </a:xfrm>
        </p:grpSpPr>
        <p:sp>
          <p:nvSpPr>
            <p:cNvPr id="45" name="Título 1">
              <a:extLst>
                <a:ext uri="{FF2B5EF4-FFF2-40B4-BE49-F238E27FC236}">
                  <a16:creationId xmlns:a16="http://schemas.microsoft.com/office/drawing/2014/main" id="{223BB3CA-9826-F559-47AA-948B902F70BA}"/>
                </a:ext>
              </a:extLst>
            </p:cNvPr>
            <p:cNvSpPr txBox="1">
              <a:spLocks/>
            </p:cNvSpPr>
            <p:nvPr/>
          </p:nvSpPr>
          <p:spPr>
            <a:xfrm>
              <a:off x="4344572" y="4719055"/>
              <a:ext cx="2752914" cy="187135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b="1" dirty="0">
                  <a:solidFill>
                    <a:srgbClr val="9583FF"/>
                  </a:solidFill>
                  <a:latin typeface="Poppins"/>
                  <a:cs typeface="Poppins"/>
                </a:rPr>
                <a:t>Innovation with Precision:</a:t>
              </a:r>
            </a:p>
            <a:p>
              <a:endParaRPr lang="en-US" sz="1400" b="1" dirty="0">
                <a:solidFill>
                  <a:srgbClr val="9583FF"/>
                </a:solidFill>
                <a:latin typeface="Poppins"/>
                <a:cs typeface="Poppins"/>
              </a:endParaRPr>
            </a:p>
            <a:p>
              <a:r>
                <a:rPr lang="en-US" sz="1400" dirty="0">
                  <a:latin typeface="Poppins"/>
                  <a:cs typeface="Poppins"/>
                </a:rPr>
                <a:t>By harnessing our expertise in emerging technologies and semi-automated consulting, we offer innovative strategies that enhance market position</a:t>
              </a:r>
              <a:r>
                <a:rPr lang="en-US" sz="1400" dirty="0">
                  <a:solidFill>
                    <a:schemeClr val="bg1"/>
                  </a:solidFill>
                  <a:latin typeface="Poppins"/>
                  <a:cs typeface="Poppins"/>
                </a:rPr>
                <a:t> through calculated, data-backed innovation.</a:t>
              </a:r>
              <a:endParaRPr lang="es-CO" sz="1400" dirty="0">
                <a:solidFill>
                  <a:schemeClr val="bg1"/>
                </a:solidFill>
                <a:latin typeface="Poppins"/>
                <a:cs typeface="Poppins"/>
              </a:endParaRPr>
            </a:p>
          </p:txBody>
        </p:sp>
        <p:sp>
          <p:nvSpPr>
            <p:cNvPr id="46" name="Triángulo isósceles 37">
              <a:extLst>
                <a:ext uri="{FF2B5EF4-FFF2-40B4-BE49-F238E27FC236}">
                  <a16:creationId xmlns:a16="http://schemas.microsoft.com/office/drawing/2014/main" id="{B5B34F8E-231B-5700-EF75-0B93E093FC25}"/>
                </a:ext>
              </a:extLst>
            </p:cNvPr>
            <p:cNvSpPr/>
            <p:nvPr/>
          </p:nvSpPr>
          <p:spPr>
            <a:xfrm rot="5400000">
              <a:off x="4192534" y="4686391"/>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sz="1400" dirty="0"/>
            </a:p>
          </p:txBody>
        </p:sp>
        <p:sp>
          <p:nvSpPr>
            <p:cNvPr id="8" name="Rectángulo 7">
              <a:extLst>
                <a:ext uri="{FF2B5EF4-FFF2-40B4-BE49-F238E27FC236}">
                  <a16:creationId xmlns:a16="http://schemas.microsoft.com/office/drawing/2014/main" id="{379C3ABB-47CF-2922-E3F9-87C36DB907DF}"/>
                </a:ext>
              </a:extLst>
            </p:cNvPr>
            <p:cNvSpPr/>
            <p:nvPr/>
          </p:nvSpPr>
          <p:spPr>
            <a:xfrm>
              <a:off x="4420554" y="4508536"/>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9" name="Imagen 8">
              <a:extLst>
                <a:ext uri="{FF2B5EF4-FFF2-40B4-BE49-F238E27FC236}">
                  <a16:creationId xmlns:a16="http://schemas.microsoft.com/office/drawing/2014/main" id="{8386F760-C2B6-1934-DF1F-C7553BE7DE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20554" y="3902425"/>
              <a:ext cx="481865" cy="481865"/>
            </a:xfrm>
            <a:prstGeom prst="rect">
              <a:avLst/>
            </a:prstGeom>
          </p:spPr>
        </p:pic>
      </p:grpSp>
      <p:grpSp>
        <p:nvGrpSpPr>
          <p:cNvPr id="36" name="Grupo 35">
            <a:extLst>
              <a:ext uri="{FF2B5EF4-FFF2-40B4-BE49-F238E27FC236}">
                <a16:creationId xmlns:a16="http://schemas.microsoft.com/office/drawing/2014/main" id="{667714DA-DD00-2586-641A-8AF5FA1CC2EF}"/>
              </a:ext>
            </a:extLst>
          </p:cNvPr>
          <p:cNvGrpSpPr/>
          <p:nvPr/>
        </p:nvGrpSpPr>
        <p:grpSpPr>
          <a:xfrm>
            <a:off x="1042354" y="3880696"/>
            <a:ext cx="3164306" cy="2572203"/>
            <a:chOff x="1042354" y="3880696"/>
            <a:chExt cx="3164306" cy="2572203"/>
          </a:xfrm>
        </p:grpSpPr>
        <p:sp>
          <p:nvSpPr>
            <p:cNvPr id="41" name="Título 1">
              <a:extLst>
                <a:ext uri="{FF2B5EF4-FFF2-40B4-BE49-F238E27FC236}">
                  <a16:creationId xmlns:a16="http://schemas.microsoft.com/office/drawing/2014/main" id="{CF742A65-F92C-26C6-284C-11ED54A846DD}"/>
                </a:ext>
              </a:extLst>
            </p:cNvPr>
            <p:cNvSpPr txBox="1">
              <a:spLocks/>
            </p:cNvSpPr>
            <p:nvPr/>
          </p:nvSpPr>
          <p:spPr>
            <a:xfrm>
              <a:off x="1210632" y="4622197"/>
              <a:ext cx="2996028" cy="18307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b="1" dirty="0">
                  <a:solidFill>
                    <a:srgbClr val="9583FF"/>
                  </a:solidFill>
                  <a:latin typeface="Poppins"/>
                  <a:cs typeface="Poppins"/>
                </a:rPr>
                <a:t>Culturally Attuned</a:t>
              </a:r>
            </a:p>
            <a:p>
              <a:r>
                <a:rPr lang="en-US" sz="1400" b="1" dirty="0">
                  <a:solidFill>
                    <a:srgbClr val="9583FF"/>
                  </a:solidFill>
                  <a:latin typeface="Poppins"/>
                  <a:cs typeface="Poppins"/>
                </a:rPr>
                <a:t>Global Strategies:</a:t>
              </a:r>
            </a:p>
            <a:p>
              <a:endParaRPr lang="en-US" sz="1400" b="1" dirty="0">
                <a:solidFill>
                  <a:srgbClr val="9583FF"/>
                </a:solidFill>
                <a:latin typeface="Poppins"/>
                <a:cs typeface="Poppins"/>
              </a:endParaRPr>
            </a:p>
            <a:p>
              <a:r>
                <a:rPr lang="en-US" sz="1400" dirty="0">
                  <a:latin typeface="Poppins"/>
                  <a:cs typeface="Poppins"/>
                </a:rPr>
                <a:t>We assist clients in integrating local consumer insights with global tech trends, guaranteeing a resonant message across diverse markets.</a:t>
              </a:r>
              <a:endParaRPr lang="es-CO" sz="1400" dirty="0">
                <a:latin typeface="Poppins"/>
                <a:cs typeface="Poppins"/>
              </a:endParaRPr>
            </a:p>
          </p:txBody>
        </p:sp>
        <p:sp>
          <p:nvSpPr>
            <p:cNvPr id="42" name="Triángulo isósceles 34">
              <a:extLst>
                <a:ext uri="{FF2B5EF4-FFF2-40B4-BE49-F238E27FC236}">
                  <a16:creationId xmlns:a16="http://schemas.microsoft.com/office/drawing/2014/main" id="{1FB5F412-F232-AE05-5F2D-E624DB6D9687}"/>
                </a:ext>
              </a:extLst>
            </p:cNvPr>
            <p:cNvSpPr/>
            <p:nvPr/>
          </p:nvSpPr>
          <p:spPr>
            <a:xfrm rot="5400000">
              <a:off x="1031092" y="4686391"/>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sz="1400" dirty="0"/>
            </a:p>
          </p:txBody>
        </p:sp>
        <p:sp>
          <p:nvSpPr>
            <p:cNvPr id="7" name="Rectángulo 6">
              <a:extLst>
                <a:ext uri="{FF2B5EF4-FFF2-40B4-BE49-F238E27FC236}">
                  <a16:creationId xmlns:a16="http://schemas.microsoft.com/office/drawing/2014/main" id="{76E36A35-18F1-45E3-A98E-B64A3C397951}"/>
                </a:ext>
              </a:extLst>
            </p:cNvPr>
            <p:cNvSpPr/>
            <p:nvPr/>
          </p:nvSpPr>
          <p:spPr>
            <a:xfrm>
              <a:off x="1291687" y="4508536"/>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1" name="Imagen 10">
              <a:extLst>
                <a:ext uri="{FF2B5EF4-FFF2-40B4-BE49-F238E27FC236}">
                  <a16:creationId xmlns:a16="http://schemas.microsoft.com/office/drawing/2014/main" id="{12158815-6E48-7FC8-D5E4-E67CC7C6F9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99123" y="3880696"/>
              <a:ext cx="446077" cy="525323"/>
            </a:xfrm>
            <a:prstGeom prst="rect">
              <a:avLst/>
            </a:prstGeom>
          </p:spPr>
        </p:pic>
      </p:grpSp>
      <p:grpSp>
        <p:nvGrpSpPr>
          <p:cNvPr id="32" name="Grupo 31">
            <a:extLst>
              <a:ext uri="{FF2B5EF4-FFF2-40B4-BE49-F238E27FC236}">
                <a16:creationId xmlns:a16="http://schemas.microsoft.com/office/drawing/2014/main" id="{2B692B93-573B-79FC-3480-BAC4E6A3AB09}"/>
              </a:ext>
            </a:extLst>
          </p:cNvPr>
          <p:cNvGrpSpPr/>
          <p:nvPr/>
        </p:nvGrpSpPr>
        <p:grpSpPr>
          <a:xfrm>
            <a:off x="7732364" y="1115646"/>
            <a:ext cx="3249005" cy="2115488"/>
            <a:chOff x="7732364" y="1115646"/>
            <a:chExt cx="3249005" cy="2115488"/>
          </a:xfrm>
        </p:grpSpPr>
        <p:sp>
          <p:nvSpPr>
            <p:cNvPr id="37" name="Título 1">
              <a:extLst>
                <a:ext uri="{FF2B5EF4-FFF2-40B4-BE49-F238E27FC236}">
                  <a16:creationId xmlns:a16="http://schemas.microsoft.com/office/drawing/2014/main" id="{8B8AF7CF-1837-7065-59B9-09BE8BF8BA60}"/>
                </a:ext>
              </a:extLst>
            </p:cNvPr>
            <p:cNvSpPr txBox="1">
              <a:spLocks/>
            </p:cNvSpPr>
            <p:nvPr/>
          </p:nvSpPr>
          <p:spPr>
            <a:xfrm>
              <a:off x="7881257" y="2148159"/>
              <a:ext cx="3100112" cy="10829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b="1" dirty="0">
                  <a:solidFill>
                    <a:srgbClr val="9583FF"/>
                  </a:solidFill>
                  <a:latin typeface="Poppins"/>
                  <a:cs typeface="Poppins"/>
                </a:rPr>
                <a:t>Agile Market Intelligence:</a:t>
              </a:r>
            </a:p>
            <a:p>
              <a:endParaRPr lang="en-US" sz="1400" b="1" dirty="0">
                <a:solidFill>
                  <a:srgbClr val="9583FF"/>
                </a:solidFill>
                <a:latin typeface="Poppins"/>
                <a:cs typeface="Poppins"/>
              </a:endParaRPr>
            </a:p>
            <a:p>
              <a:r>
                <a:rPr lang="en-US" sz="1400" dirty="0">
                  <a:latin typeface="Poppins"/>
                  <a:cs typeface="Poppins"/>
                </a:rPr>
                <a:t>Our agile market research methodologies empower swift decision-making, providing the competitive edge needed to excel without the burden of</a:t>
              </a:r>
            </a:p>
            <a:p>
              <a:r>
                <a:rPr lang="en-US" sz="1400" dirty="0">
                  <a:latin typeface="Poppins"/>
                  <a:cs typeface="Poppins"/>
                </a:rPr>
                <a:t>excessive costs.</a:t>
              </a:r>
              <a:endParaRPr lang="es-CO" sz="1400" dirty="0">
                <a:latin typeface="Poppins"/>
                <a:cs typeface="Poppins"/>
              </a:endParaRPr>
            </a:p>
          </p:txBody>
        </p:sp>
        <p:sp>
          <p:nvSpPr>
            <p:cNvPr id="38" name="Triángulo isósceles 31">
              <a:extLst>
                <a:ext uri="{FF2B5EF4-FFF2-40B4-BE49-F238E27FC236}">
                  <a16:creationId xmlns:a16="http://schemas.microsoft.com/office/drawing/2014/main" id="{97D461A2-35A9-456F-000B-8E476FAA6B44}"/>
                </a:ext>
              </a:extLst>
            </p:cNvPr>
            <p:cNvSpPr/>
            <p:nvPr/>
          </p:nvSpPr>
          <p:spPr>
            <a:xfrm rot="5400000">
              <a:off x="7721102" y="1908645"/>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sz="1400" dirty="0"/>
            </a:p>
          </p:txBody>
        </p:sp>
        <p:sp>
          <p:nvSpPr>
            <p:cNvPr id="6" name="Rectángulo 5">
              <a:extLst>
                <a:ext uri="{FF2B5EF4-FFF2-40B4-BE49-F238E27FC236}">
                  <a16:creationId xmlns:a16="http://schemas.microsoft.com/office/drawing/2014/main" id="{E9768376-CFB7-FB0C-F516-D56FB8FE8CE6}"/>
                </a:ext>
              </a:extLst>
            </p:cNvPr>
            <p:cNvSpPr/>
            <p:nvPr/>
          </p:nvSpPr>
          <p:spPr>
            <a:xfrm>
              <a:off x="7943567" y="1624298"/>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4" name="Imagen 13">
              <a:extLst>
                <a:ext uri="{FF2B5EF4-FFF2-40B4-BE49-F238E27FC236}">
                  <a16:creationId xmlns:a16="http://schemas.microsoft.com/office/drawing/2014/main" id="{961D4303-2CD6-28B1-DFC6-00F7590B34B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30530" y="1115646"/>
              <a:ext cx="416679" cy="416679"/>
            </a:xfrm>
            <a:prstGeom prst="rect">
              <a:avLst/>
            </a:prstGeom>
          </p:spPr>
        </p:pic>
      </p:grpSp>
      <p:pic>
        <p:nvPicPr>
          <p:cNvPr id="22" name="Imagen 21">
            <a:extLst>
              <a:ext uri="{FF2B5EF4-FFF2-40B4-BE49-F238E27FC236}">
                <a16:creationId xmlns:a16="http://schemas.microsoft.com/office/drawing/2014/main" id="{F9FEE6EA-2F85-0CF0-E3F9-505194749511}"/>
              </a:ext>
            </a:extLst>
          </p:cNvPr>
          <p:cNvPicPr>
            <a:picLocks noChangeAspect="1"/>
          </p:cNvPicPr>
          <p:nvPr/>
        </p:nvPicPr>
        <p:blipFill>
          <a:blip r:embed="rId7" cstate="print">
            <a:alphaModFix/>
            <a:extLst>
              <a:ext uri="{BEBA8EAE-BF5A-486C-A8C5-ECC9F3942E4B}">
                <a14:imgProps xmlns:a14="http://schemas.microsoft.com/office/drawing/2010/main">
                  <a14:imgLayer r:embed="rId8">
                    <a14:imgEffect>
                      <a14:brightnessContrast bright="13000" contrast="40000"/>
                    </a14:imgEffect>
                  </a14:imgLayer>
                </a14:imgProps>
              </a:ext>
              <a:ext uri="{28A0092B-C50C-407E-A947-70E740481C1C}">
                <a14:useLocalDpi xmlns:a14="http://schemas.microsoft.com/office/drawing/2010/main" val="0"/>
              </a:ext>
            </a:extLst>
          </a:blip>
          <a:stretch>
            <a:fillRect/>
          </a:stretch>
        </p:blipFill>
        <p:spPr>
          <a:xfrm rot="3619796">
            <a:off x="11012212" y="3724510"/>
            <a:ext cx="1157511" cy="880513"/>
          </a:xfrm>
          <a:prstGeom prst="rect">
            <a:avLst/>
          </a:prstGeom>
        </p:spPr>
      </p:pic>
      <p:sp>
        <p:nvSpPr>
          <p:cNvPr id="25" name="Paralelogramo 24">
            <a:extLst>
              <a:ext uri="{FF2B5EF4-FFF2-40B4-BE49-F238E27FC236}">
                <a16:creationId xmlns:a16="http://schemas.microsoft.com/office/drawing/2014/main" id="{46421394-BE86-5207-B524-680E167D7464}"/>
              </a:ext>
            </a:extLst>
          </p:cNvPr>
          <p:cNvSpPr/>
          <p:nvPr/>
        </p:nvSpPr>
        <p:spPr>
          <a:xfrm rot="21185608">
            <a:off x="7927921" y="4333031"/>
            <a:ext cx="1628480" cy="102517"/>
          </a:xfrm>
          <a:prstGeom prst="parallelogram">
            <a:avLst/>
          </a:prstGeom>
          <a:solidFill>
            <a:srgbClr val="8D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grpSp>
        <p:nvGrpSpPr>
          <p:cNvPr id="28" name="Grupo 27">
            <a:extLst>
              <a:ext uri="{FF2B5EF4-FFF2-40B4-BE49-F238E27FC236}">
                <a16:creationId xmlns:a16="http://schemas.microsoft.com/office/drawing/2014/main" id="{FB6C226C-12BD-363C-EA2F-E26B5AC634D8}"/>
              </a:ext>
            </a:extLst>
          </p:cNvPr>
          <p:cNvGrpSpPr/>
          <p:nvPr/>
        </p:nvGrpSpPr>
        <p:grpSpPr>
          <a:xfrm>
            <a:off x="4219670" y="1100947"/>
            <a:ext cx="3120931" cy="2424856"/>
            <a:chOff x="4219670" y="1100947"/>
            <a:chExt cx="3120931" cy="2424856"/>
          </a:xfrm>
        </p:grpSpPr>
        <p:sp>
          <p:nvSpPr>
            <p:cNvPr id="33" name="Título 1">
              <a:extLst>
                <a:ext uri="{FF2B5EF4-FFF2-40B4-BE49-F238E27FC236}">
                  <a16:creationId xmlns:a16="http://schemas.microsoft.com/office/drawing/2014/main" id="{D37FDC81-9CE2-C877-45C3-F41DA9F89B3B}"/>
                </a:ext>
              </a:extLst>
            </p:cNvPr>
            <p:cNvSpPr txBox="1">
              <a:spLocks/>
            </p:cNvSpPr>
            <p:nvPr/>
          </p:nvSpPr>
          <p:spPr>
            <a:xfrm>
              <a:off x="4344573" y="1987024"/>
              <a:ext cx="2996028" cy="15387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b="1" dirty="0">
                  <a:solidFill>
                    <a:srgbClr val="9583FF"/>
                  </a:solidFill>
                  <a:latin typeface="Poppins"/>
                  <a:cs typeface="Poppins"/>
                </a:rPr>
                <a:t>Data-Driven Tech Relevance:</a:t>
              </a:r>
            </a:p>
            <a:p>
              <a:endParaRPr lang="en-US" sz="1400" b="1" dirty="0">
                <a:solidFill>
                  <a:srgbClr val="9583FF"/>
                </a:solidFill>
                <a:latin typeface="Poppins"/>
                <a:cs typeface="Poppins"/>
              </a:endParaRPr>
            </a:p>
            <a:p>
              <a:r>
                <a:rPr lang="en-US" sz="1400" dirty="0">
                  <a:latin typeface="Poppins"/>
                  <a:cs typeface="Poppins"/>
                </a:rPr>
                <a:t>We equip brands with actionable insights to stay pertinent and foster growth, regardless of the economic landscape, ensuring your team continues to lead in innovation and consumer connection.</a:t>
              </a:r>
              <a:endParaRPr lang="es-CO" sz="1400" dirty="0">
                <a:latin typeface="Poppins"/>
                <a:cs typeface="Poppins"/>
              </a:endParaRPr>
            </a:p>
          </p:txBody>
        </p:sp>
        <p:sp>
          <p:nvSpPr>
            <p:cNvPr id="34" name="Triángulo isósceles 28">
              <a:extLst>
                <a:ext uri="{FF2B5EF4-FFF2-40B4-BE49-F238E27FC236}">
                  <a16:creationId xmlns:a16="http://schemas.microsoft.com/office/drawing/2014/main" id="{C0D7260A-4980-2BBF-AEA6-41544B9DA45B}"/>
                </a:ext>
              </a:extLst>
            </p:cNvPr>
            <p:cNvSpPr/>
            <p:nvPr/>
          </p:nvSpPr>
          <p:spPr>
            <a:xfrm rot="5400000">
              <a:off x="4208408" y="1908645"/>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sz="1400" dirty="0"/>
            </a:p>
          </p:txBody>
        </p:sp>
        <p:pic>
          <p:nvPicPr>
            <p:cNvPr id="5" name="Imagen 4">
              <a:extLst>
                <a:ext uri="{FF2B5EF4-FFF2-40B4-BE49-F238E27FC236}">
                  <a16:creationId xmlns:a16="http://schemas.microsoft.com/office/drawing/2014/main" id="{C7A401D0-119C-E271-CEFD-33BEAAEC758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44904" y="1100947"/>
              <a:ext cx="384725" cy="446076"/>
            </a:xfrm>
            <a:prstGeom prst="rect">
              <a:avLst/>
            </a:prstGeom>
          </p:spPr>
        </p:pic>
        <p:sp>
          <p:nvSpPr>
            <p:cNvPr id="26" name="Rectángulo 25">
              <a:extLst>
                <a:ext uri="{FF2B5EF4-FFF2-40B4-BE49-F238E27FC236}">
                  <a16:creationId xmlns:a16="http://schemas.microsoft.com/office/drawing/2014/main" id="{EB4A0ED7-C46C-3CE7-147C-A32D3982E7D6}"/>
                </a:ext>
              </a:extLst>
            </p:cNvPr>
            <p:cNvSpPr/>
            <p:nvPr/>
          </p:nvSpPr>
          <p:spPr>
            <a:xfrm>
              <a:off x="4420554" y="1647157"/>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grpSp>
      <p:pic>
        <p:nvPicPr>
          <p:cNvPr id="4" name="Picture 2" descr="Global Property Management Group Odevo Continues U.S. Expansion With ...">
            <a:extLst>
              <a:ext uri="{FF2B5EF4-FFF2-40B4-BE49-F238E27FC236}">
                <a16:creationId xmlns:a16="http://schemas.microsoft.com/office/drawing/2014/main" id="{EBED8046-C322-F3B9-832A-B26EBE8E9D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746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fade">
                                      <p:cBhvr>
                                        <p:cTn id="3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D2E85D-8636-7D8F-E2BE-721BA6617D0F}"/>
            </a:ext>
          </a:extLst>
        </p:cNvPr>
        <p:cNvGrpSpPr/>
        <p:nvPr/>
      </p:nvGrpSpPr>
      <p:grpSpPr>
        <a:xfrm>
          <a:off x="0" y="0"/>
          <a:ext cx="0" cy="0"/>
          <a:chOff x="0" y="0"/>
          <a:chExt cx="0" cy="0"/>
        </a:xfrm>
      </p:grpSpPr>
      <p:sp>
        <p:nvSpPr>
          <p:cNvPr id="71" name="object 2">
            <a:extLst>
              <a:ext uri="{FF2B5EF4-FFF2-40B4-BE49-F238E27FC236}">
                <a16:creationId xmlns:a16="http://schemas.microsoft.com/office/drawing/2014/main" id="{F8A7FD7E-FBA1-0967-D5D8-B9D50E5F5F35}"/>
              </a:ext>
            </a:extLst>
          </p:cNvPr>
          <p:cNvSpPr txBox="1">
            <a:spLocks noGrp="1"/>
          </p:cNvSpPr>
          <p:nvPr>
            <p:ph type="title"/>
          </p:nvPr>
        </p:nvSpPr>
        <p:spPr>
          <a:xfrm>
            <a:off x="861907" y="247658"/>
            <a:ext cx="10199995" cy="689932"/>
          </a:xfrm>
          <a:prstGeom prst="rect">
            <a:avLst/>
          </a:prstGeom>
        </p:spPr>
        <p:txBody>
          <a:bodyPr vert="horz" wrap="square" lIns="0" tIns="73660" rIns="0" bIns="0" rtlCol="0">
            <a:spAutoFit/>
          </a:bodyPr>
          <a:lstStyle/>
          <a:p>
            <a:pPr marL="12700" marR="5080">
              <a:lnSpc>
                <a:spcPts val="2400"/>
              </a:lnSpc>
              <a:spcBef>
                <a:spcPts val="580"/>
              </a:spcBef>
            </a:pPr>
            <a:r>
              <a:rPr lang="en-US" sz="2000" dirty="0">
                <a:solidFill>
                  <a:srgbClr val="472C9B"/>
                </a:solidFill>
                <a:latin typeface="+mj-lt"/>
                <a:cs typeface="Poppins Medium" pitchFamily="2" charset="77"/>
              </a:rPr>
              <a:t>Our capabilities benefit a wide variety of industries. Here are some examples from our IOTA Alliance clients.</a:t>
            </a:r>
            <a:endParaRPr lang="es-CO" sz="2000" b="0" dirty="0">
              <a:solidFill>
                <a:srgbClr val="472C9B"/>
              </a:solidFill>
              <a:latin typeface="+mj-lt"/>
              <a:cs typeface="Poppins Medium" pitchFamily="2" charset="77"/>
            </a:endParaRPr>
          </a:p>
        </p:txBody>
      </p:sp>
      <p:pic>
        <p:nvPicPr>
          <p:cNvPr id="8" name="Picture 7">
            <a:extLst>
              <a:ext uri="{FF2B5EF4-FFF2-40B4-BE49-F238E27FC236}">
                <a16:creationId xmlns:a16="http://schemas.microsoft.com/office/drawing/2014/main" id="{F52AD688-6D0C-7379-BE27-4BD7B9220348}"/>
              </a:ext>
            </a:extLst>
          </p:cNvPr>
          <p:cNvPicPr>
            <a:picLocks noChangeAspect="1"/>
          </p:cNvPicPr>
          <p:nvPr/>
        </p:nvPicPr>
        <p:blipFill>
          <a:blip r:embed="rId3"/>
          <a:stretch>
            <a:fillRect/>
          </a:stretch>
        </p:blipFill>
        <p:spPr>
          <a:xfrm>
            <a:off x="1373625" y="1387635"/>
            <a:ext cx="9688277" cy="4639322"/>
          </a:xfrm>
          <a:prstGeom prst="rect">
            <a:avLst/>
          </a:prstGeom>
        </p:spPr>
      </p:pic>
      <p:pic>
        <p:nvPicPr>
          <p:cNvPr id="2" name="Picture 2" descr="Global Property Management Group Odevo Continues U.S. Expansion With ...">
            <a:extLst>
              <a:ext uri="{FF2B5EF4-FFF2-40B4-BE49-F238E27FC236}">
                <a16:creationId xmlns:a16="http://schemas.microsoft.com/office/drawing/2014/main" id="{5F0A0869-E77D-9131-F517-D27963F806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5003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57C38481-9E3F-8544-C195-71389E2A5F9F}"/>
              </a:ext>
            </a:extLst>
          </p:cNvPr>
          <p:cNvSpPr txBox="1">
            <a:spLocks/>
          </p:cNvSpPr>
          <p:nvPr/>
        </p:nvSpPr>
        <p:spPr>
          <a:xfrm>
            <a:off x="3890792" y="1830042"/>
            <a:ext cx="8116138" cy="2742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Context and objectives</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methodology</a:t>
            </a:r>
            <a:endParaRPr kumimoji="0" lang="en-US" sz="1800" b="1" i="0" u="none" strike="noStrike" kern="1200" cap="none" spc="0" normalizeH="0" baseline="0" noProof="0" dirty="0">
              <a:ln>
                <a:noFill/>
              </a:ln>
              <a:solidFill>
                <a:srgbClr val="FFFFFF"/>
              </a:solidFill>
              <a:effectLst/>
              <a:uLnTx/>
              <a:uFillTx/>
              <a:latin typeface="Poppins"/>
              <a:ea typeface="+mj-ea"/>
              <a:cs typeface="Poppins"/>
            </a:endParaRP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Why IOTA Impact</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Team IOTA and timeline</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investment</a:t>
            </a:r>
          </a:p>
        </p:txBody>
      </p:sp>
      <p:sp>
        <p:nvSpPr>
          <p:cNvPr id="3" name="Google Shape;291;p35">
            <a:extLst>
              <a:ext uri="{FF2B5EF4-FFF2-40B4-BE49-F238E27FC236}">
                <a16:creationId xmlns:a16="http://schemas.microsoft.com/office/drawing/2014/main" id="{917EFD4C-E48B-9C02-591A-3C14F07B8CA5}"/>
              </a:ext>
            </a:extLst>
          </p:cNvPr>
          <p:cNvSpPr txBox="1">
            <a:spLocks noGrp="1"/>
          </p:cNvSpPr>
          <p:nvPr/>
        </p:nvSpPr>
        <p:spPr>
          <a:xfrm>
            <a:off x="2905844" y="259489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dirty="0"/>
              <a:t>02</a:t>
            </a:r>
            <a:endParaRPr dirty="0"/>
          </a:p>
        </p:txBody>
      </p:sp>
      <p:sp>
        <p:nvSpPr>
          <p:cNvPr id="5" name="Google Shape;289;p35">
            <a:extLst>
              <a:ext uri="{FF2B5EF4-FFF2-40B4-BE49-F238E27FC236}">
                <a16:creationId xmlns:a16="http://schemas.microsoft.com/office/drawing/2014/main" id="{93E2148B-E1E8-A482-ED26-C3F083DD134F}"/>
              </a:ext>
            </a:extLst>
          </p:cNvPr>
          <p:cNvSpPr txBox="1">
            <a:spLocks noGrp="1"/>
          </p:cNvSpPr>
          <p:nvPr/>
        </p:nvSpPr>
        <p:spPr>
          <a:xfrm>
            <a:off x="2905844" y="217611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1</a:t>
            </a:r>
            <a:endParaRPr/>
          </a:p>
        </p:txBody>
      </p:sp>
      <p:sp>
        <p:nvSpPr>
          <p:cNvPr id="9" name="Google Shape;291;p35">
            <a:extLst>
              <a:ext uri="{FF2B5EF4-FFF2-40B4-BE49-F238E27FC236}">
                <a16:creationId xmlns:a16="http://schemas.microsoft.com/office/drawing/2014/main" id="{F34FEE20-819B-7659-489B-C6CB8FA09970}"/>
              </a:ext>
            </a:extLst>
          </p:cNvPr>
          <p:cNvSpPr txBox="1">
            <a:spLocks noGrp="1"/>
          </p:cNvSpPr>
          <p:nvPr/>
        </p:nvSpPr>
        <p:spPr>
          <a:xfrm>
            <a:off x="2905844" y="301367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3</a:t>
            </a:r>
            <a:endParaRPr/>
          </a:p>
        </p:txBody>
      </p:sp>
      <p:sp>
        <p:nvSpPr>
          <p:cNvPr id="21" name="object 6">
            <a:extLst>
              <a:ext uri="{FF2B5EF4-FFF2-40B4-BE49-F238E27FC236}">
                <a16:creationId xmlns:a16="http://schemas.microsoft.com/office/drawing/2014/main" id="{B08CF098-A2C4-0DAC-DF74-BC0E4E2B6A96}"/>
              </a:ext>
            </a:extLst>
          </p:cNvPr>
          <p:cNvSpPr/>
          <p:nvPr/>
        </p:nvSpPr>
        <p:spPr>
          <a:xfrm rot="5400000">
            <a:off x="1704106" y="731853"/>
            <a:ext cx="1134992" cy="983362"/>
          </a:xfrm>
          <a:custGeom>
            <a:avLst/>
            <a:gdLst/>
            <a:ahLst/>
            <a:cxnLst/>
            <a:rect l="l" t="t" r="r" b="b"/>
            <a:pathLst>
              <a:path w="646429" h="560070">
                <a:moveTo>
                  <a:pt x="323138" y="0"/>
                </a:moveTo>
                <a:lnTo>
                  <a:pt x="0" y="559701"/>
                </a:lnTo>
                <a:lnTo>
                  <a:pt x="164007" y="559701"/>
                </a:lnTo>
                <a:lnTo>
                  <a:pt x="323138" y="284086"/>
                </a:lnTo>
                <a:lnTo>
                  <a:pt x="482269" y="559701"/>
                </a:lnTo>
                <a:lnTo>
                  <a:pt x="646277" y="559701"/>
                </a:lnTo>
                <a:lnTo>
                  <a:pt x="323138" y="0"/>
                </a:lnTo>
                <a:close/>
              </a:path>
            </a:pathLst>
          </a:custGeom>
          <a:solidFill>
            <a:srgbClr val="8D80FF">
              <a:alpha val="20000"/>
            </a:srgbClr>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rial"/>
              <a:cs typeface="Arial"/>
              <a:sym typeface="Arial"/>
            </a:endParaRPr>
          </a:p>
        </p:txBody>
      </p:sp>
      <p:sp>
        <p:nvSpPr>
          <p:cNvPr id="6" name="Título 1">
            <a:extLst>
              <a:ext uri="{FF2B5EF4-FFF2-40B4-BE49-F238E27FC236}">
                <a16:creationId xmlns:a16="http://schemas.microsoft.com/office/drawing/2014/main" id="{A1C91E4D-A927-263A-8677-2AE4226F53B3}"/>
              </a:ext>
            </a:extLst>
          </p:cNvPr>
          <p:cNvSpPr txBox="1">
            <a:spLocks/>
          </p:cNvSpPr>
          <p:nvPr/>
        </p:nvSpPr>
        <p:spPr>
          <a:xfrm>
            <a:off x="618006" y="976028"/>
            <a:ext cx="2145277" cy="471639"/>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3200" b="1" i="0" u="none" strike="noStrike" kern="1200" cap="none" spc="0" normalizeH="0" baseline="0" noProof="0" dirty="0">
                <a:ln>
                  <a:noFill/>
                </a:ln>
                <a:solidFill>
                  <a:srgbClr val="FFFFFF"/>
                </a:solidFill>
                <a:effectLst/>
                <a:uLnTx/>
                <a:uFillTx/>
                <a:latin typeface="Poppins"/>
                <a:ea typeface="+mj-ea"/>
                <a:cs typeface="+mj-cs"/>
              </a:rPr>
              <a:t>Content</a:t>
            </a:r>
          </a:p>
        </p:txBody>
      </p:sp>
      <p:sp>
        <p:nvSpPr>
          <p:cNvPr id="2" name="Google Shape;289;p35">
            <a:extLst>
              <a:ext uri="{FF2B5EF4-FFF2-40B4-BE49-F238E27FC236}">
                <a16:creationId xmlns:a16="http://schemas.microsoft.com/office/drawing/2014/main" id="{410BB48F-3A62-D028-E675-3261523B6CE7}"/>
              </a:ext>
            </a:extLst>
          </p:cNvPr>
          <p:cNvSpPr txBox="1">
            <a:spLocks noGrp="1"/>
          </p:cNvSpPr>
          <p:nvPr/>
        </p:nvSpPr>
        <p:spPr>
          <a:xfrm>
            <a:off x="2905844" y="3432450"/>
            <a:ext cx="876793" cy="374993"/>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4</a:t>
            </a:r>
            <a:endParaRPr/>
          </a:p>
        </p:txBody>
      </p:sp>
      <p:sp>
        <p:nvSpPr>
          <p:cNvPr id="7" name="Google Shape;289;p35">
            <a:extLst>
              <a:ext uri="{FF2B5EF4-FFF2-40B4-BE49-F238E27FC236}">
                <a16:creationId xmlns:a16="http://schemas.microsoft.com/office/drawing/2014/main" id="{1CC0F131-0D3E-34F6-B5C4-68CC52DDD248}"/>
              </a:ext>
            </a:extLst>
          </p:cNvPr>
          <p:cNvSpPr txBox="1">
            <a:spLocks noGrp="1"/>
          </p:cNvSpPr>
          <p:nvPr/>
        </p:nvSpPr>
        <p:spPr>
          <a:xfrm>
            <a:off x="2905844" y="3855071"/>
            <a:ext cx="876793" cy="374993"/>
          </a:xfrm>
          <a:prstGeom prst="rect">
            <a:avLst/>
          </a:prstGeom>
          <a:solidFill>
            <a:srgbClr val="B5B9FD"/>
          </a:soli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a:t>
            </a:r>
            <a:r>
              <a:rPr kumimoji="0" lang="en" sz="1800" b="1" i="0" u="none" strike="noStrike" kern="1200" cap="none" spc="0" normalizeH="0" baseline="0" noProof="0" dirty="0">
                <a:ln>
                  <a:noFill/>
                </a:ln>
                <a:solidFill>
                  <a:srgbClr val="FFFFFF"/>
                </a:solidFill>
                <a:effectLst/>
                <a:uLnTx/>
                <a:uFillTx/>
                <a:latin typeface="Poppins"/>
                <a:ea typeface="+mj-ea"/>
                <a:cs typeface="+mj-cs"/>
              </a:rPr>
              <a:t>5</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Tree>
    <p:extLst>
      <p:ext uri="{BB962C8B-B14F-4D97-AF65-F5344CB8AC3E}">
        <p14:creationId xmlns:p14="http://schemas.microsoft.com/office/powerpoint/2010/main" val="2149694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ABFCE18-7194-8DA9-E0E5-0A1E71D73771}"/>
              </a:ext>
            </a:extLst>
          </p:cNvPr>
          <p:cNvSpPr/>
          <p:nvPr/>
        </p:nvSpPr>
        <p:spPr>
          <a:xfrm>
            <a:off x="3138346" y="0"/>
            <a:ext cx="2874295" cy="6858000"/>
          </a:xfrm>
          <a:prstGeom prst="rect">
            <a:avLst/>
          </a:prstGeom>
          <a:solidFill>
            <a:srgbClr val="482C9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3" name="Rectángulo 22">
            <a:extLst>
              <a:ext uri="{FF2B5EF4-FFF2-40B4-BE49-F238E27FC236}">
                <a16:creationId xmlns:a16="http://schemas.microsoft.com/office/drawing/2014/main" id="{E3D36364-5F75-42F9-4A4B-B0235C0FF109}"/>
              </a:ext>
            </a:extLst>
          </p:cNvPr>
          <p:cNvSpPr/>
          <p:nvPr/>
        </p:nvSpPr>
        <p:spPr>
          <a:xfrm>
            <a:off x="6012641" y="0"/>
            <a:ext cx="2874295" cy="6858000"/>
          </a:xfrm>
          <a:prstGeom prst="rect">
            <a:avLst/>
          </a:prstGeom>
          <a:solidFill>
            <a:srgbClr val="8D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8D80FF"/>
              </a:solidFill>
              <a:effectLst/>
              <a:uLnTx/>
              <a:uFillTx/>
              <a:latin typeface="Poppins Light"/>
              <a:ea typeface="+mn-ea"/>
              <a:cs typeface="+mn-cs"/>
            </a:endParaRPr>
          </a:p>
        </p:txBody>
      </p:sp>
      <p:sp>
        <p:nvSpPr>
          <p:cNvPr id="4" name="CuadroTexto 3">
            <a:extLst>
              <a:ext uri="{FF2B5EF4-FFF2-40B4-BE49-F238E27FC236}">
                <a16:creationId xmlns:a16="http://schemas.microsoft.com/office/drawing/2014/main" id="{F3B073DB-91FC-C8B3-5BD6-63F5C32D7A3B}"/>
              </a:ext>
            </a:extLst>
          </p:cNvPr>
          <p:cNvSpPr txBox="1"/>
          <p:nvPr/>
        </p:nvSpPr>
        <p:spPr>
          <a:xfrm>
            <a:off x="1000641" y="2424687"/>
            <a:ext cx="218869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482C9B"/>
                </a:solidFill>
                <a:effectLst/>
                <a:uLnTx/>
                <a:uFillTx/>
                <a:latin typeface="Poppins" pitchFamily="2" charset="77"/>
                <a:ea typeface="+mn-ea"/>
                <a:cs typeface="Poppins" pitchFamily="2" charset="77"/>
              </a:rPr>
              <a:t>Engagement Directors and Sounding Boa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6" name="Imagen 5">
            <a:extLst>
              <a:ext uri="{FF2B5EF4-FFF2-40B4-BE49-F238E27FC236}">
                <a16:creationId xmlns:a16="http://schemas.microsoft.com/office/drawing/2014/main" id="{1AE57B5B-E9D5-E5EC-2F8C-E22079CDBA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0004" y="1754233"/>
            <a:ext cx="240975" cy="292341"/>
          </a:xfrm>
          <a:prstGeom prst="rect">
            <a:avLst/>
          </a:prstGeom>
        </p:spPr>
      </p:pic>
      <p:sp>
        <p:nvSpPr>
          <p:cNvPr id="7" name="CuadroTexto 6">
            <a:extLst>
              <a:ext uri="{FF2B5EF4-FFF2-40B4-BE49-F238E27FC236}">
                <a16:creationId xmlns:a16="http://schemas.microsoft.com/office/drawing/2014/main" id="{CA546E7C-0485-8FE9-1E98-9782CBE41128}"/>
              </a:ext>
            </a:extLst>
          </p:cNvPr>
          <p:cNvSpPr txBox="1"/>
          <p:nvPr/>
        </p:nvSpPr>
        <p:spPr>
          <a:xfrm>
            <a:off x="1049802" y="4356487"/>
            <a:ext cx="1937096" cy="6586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482C9B"/>
                </a:solidFill>
                <a:effectLst/>
                <a:uLnTx/>
                <a:uFillTx/>
                <a:latin typeface="Poppins"/>
                <a:ea typeface="+mn-ea"/>
                <a:cs typeface="+mn-cs"/>
              </a:rPr>
              <a:t>Project Management</a:t>
            </a:r>
          </a:p>
        </p:txBody>
      </p:sp>
      <p:sp>
        <p:nvSpPr>
          <p:cNvPr id="8" name="CuadroTexto 7">
            <a:extLst>
              <a:ext uri="{FF2B5EF4-FFF2-40B4-BE49-F238E27FC236}">
                <a16:creationId xmlns:a16="http://schemas.microsoft.com/office/drawing/2014/main" id="{B2188E32-E410-9EA1-79B9-75969119A5E8}"/>
              </a:ext>
            </a:extLst>
          </p:cNvPr>
          <p:cNvSpPr txBox="1"/>
          <p:nvPr/>
        </p:nvSpPr>
        <p:spPr>
          <a:xfrm>
            <a:off x="1000641" y="5947323"/>
            <a:ext cx="130954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482C9B"/>
                </a:solidFill>
                <a:effectLst/>
                <a:uLnTx/>
                <a:uFillTx/>
                <a:latin typeface="Poppins"/>
                <a:ea typeface="+mn-ea"/>
                <a:cs typeface="+mn-cs"/>
              </a:rPr>
              <a:t>Project Team</a:t>
            </a:r>
          </a:p>
        </p:txBody>
      </p:sp>
      <p:pic>
        <p:nvPicPr>
          <p:cNvPr id="9" name="Imagen 8">
            <a:extLst>
              <a:ext uri="{FF2B5EF4-FFF2-40B4-BE49-F238E27FC236}">
                <a16:creationId xmlns:a16="http://schemas.microsoft.com/office/drawing/2014/main" id="{12FD59AB-DF6F-B8CC-043A-A14BB6B4638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34592" y="4142029"/>
            <a:ext cx="251798" cy="305470"/>
          </a:xfrm>
          <a:prstGeom prst="rect">
            <a:avLst/>
          </a:prstGeom>
        </p:spPr>
      </p:pic>
      <p:pic>
        <p:nvPicPr>
          <p:cNvPr id="10" name="Imagen 9">
            <a:extLst>
              <a:ext uri="{FF2B5EF4-FFF2-40B4-BE49-F238E27FC236}">
                <a16:creationId xmlns:a16="http://schemas.microsoft.com/office/drawing/2014/main" id="{ED2AB20D-8873-AF5C-249F-E0C791D897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14214" y="5751680"/>
            <a:ext cx="292554" cy="354914"/>
          </a:xfrm>
          <a:prstGeom prst="rect">
            <a:avLst/>
          </a:prstGeom>
        </p:spPr>
      </p:pic>
      <p:sp>
        <p:nvSpPr>
          <p:cNvPr id="11" name="Título 4">
            <a:extLst>
              <a:ext uri="{FF2B5EF4-FFF2-40B4-BE49-F238E27FC236}">
                <a16:creationId xmlns:a16="http://schemas.microsoft.com/office/drawing/2014/main" id="{AD879B6C-B070-8E86-F488-DFEB385EB0BE}"/>
              </a:ext>
            </a:extLst>
          </p:cNvPr>
          <p:cNvSpPr>
            <a:spLocks noGrp="1"/>
          </p:cNvSpPr>
          <p:nvPr>
            <p:ph type="title"/>
          </p:nvPr>
        </p:nvSpPr>
        <p:spPr>
          <a:xfrm>
            <a:off x="1000641" y="121863"/>
            <a:ext cx="10900754" cy="798836"/>
          </a:xfrm>
        </p:spPr>
        <p:txBody>
          <a:bodyPr/>
          <a:lstStyle/>
          <a:p>
            <a:r>
              <a:rPr lang="es-MX" dirty="0">
                <a:solidFill>
                  <a:schemeClr val="bg1">
                    <a:lumMod val="50000"/>
                  </a:schemeClr>
                </a:solidFill>
              </a:rPr>
              <a:t>Team</a:t>
            </a:r>
            <a:endParaRPr lang="es-CO" dirty="0">
              <a:solidFill>
                <a:schemeClr val="bg1">
                  <a:lumMod val="50000"/>
                </a:schemeClr>
              </a:solidFill>
            </a:endParaRPr>
          </a:p>
        </p:txBody>
      </p:sp>
      <p:pic>
        <p:nvPicPr>
          <p:cNvPr id="14" name="Imagen 13">
            <a:extLst>
              <a:ext uri="{FF2B5EF4-FFF2-40B4-BE49-F238E27FC236}">
                <a16:creationId xmlns:a16="http://schemas.microsoft.com/office/drawing/2014/main" id="{3F2B4988-056B-FE42-AEAC-A66D153DE9F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482" t="13891" r="29079" b="52684"/>
          <a:stretch/>
        </p:blipFill>
        <p:spPr>
          <a:xfrm>
            <a:off x="3736816" y="1049872"/>
            <a:ext cx="677133" cy="673101"/>
          </a:xfrm>
          <a:prstGeom prst="ellipse">
            <a:avLst/>
          </a:prstGeom>
        </p:spPr>
      </p:pic>
      <p:sp>
        <p:nvSpPr>
          <p:cNvPr id="17" name="CuadroTexto 16">
            <a:extLst>
              <a:ext uri="{FF2B5EF4-FFF2-40B4-BE49-F238E27FC236}">
                <a16:creationId xmlns:a16="http://schemas.microsoft.com/office/drawing/2014/main" id="{F908A79F-06BF-BEA3-13F2-5C9F00F97F11}"/>
              </a:ext>
            </a:extLst>
          </p:cNvPr>
          <p:cNvSpPr txBox="1"/>
          <p:nvPr/>
        </p:nvSpPr>
        <p:spPr>
          <a:xfrm>
            <a:off x="3413538" y="1862745"/>
            <a:ext cx="130500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Andrés Satizabal</a:t>
            </a:r>
          </a:p>
        </p:txBody>
      </p:sp>
      <p:sp>
        <p:nvSpPr>
          <p:cNvPr id="18" name="CuadroTexto 17">
            <a:extLst>
              <a:ext uri="{FF2B5EF4-FFF2-40B4-BE49-F238E27FC236}">
                <a16:creationId xmlns:a16="http://schemas.microsoft.com/office/drawing/2014/main" id="{99EF0C18-9E5C-2C4B-B340-9447A5DA7AB1}"/>
              </a:ext>
            </a:extLst>
          </p:cNvPr>
          <p:cNvSpPr txBox="1"/>
          <p:nvPr/>
        </p:nvSpPr>
        <p:spPr>
          <a:xfrm>
            <a:off x="3302949" y="2666163"/>
            <a:ext cx="249319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Poppins Light"/>
                <a:ea typeface="Lato"/>
                <a:cs typeface="Poppins ExtraLight"/>
              </a:rPr>
              <a:t>Former McKinsey and research experts</a:t>
            </a:r>
            <a:endParaRPr kumimoji="0" lang="es-CO" sz="1200" b="0" i="0" u="none" strike="noStrike" kern="1200" cap="none" spc="0" normalizeH="0" baseline="0" noProof="0" dirty="0">
              <a:ln>
                <a:noFill/>
              </a:ln>
              <a:solidFill>
                <a:srgbClr val="FFFFFF"/>
              </a:solidFill>
              <a:effectLst/>
              <a:uLnTx/>
              <a:uFillTx/>
              <a:latin typeface="Poppins Light"/>
              <a:ea typeface="Lato"/>
              <a:cs typeface="Poppins ExtraLight" panose="00000300000000000000" pitchFamily="2" charset="0"/>
            </a:endParaRPr>
          </a:p>
        </p:txBody>
      </p:sp>
      <p:sp>
        <p:nvSpPr>
          <p:cNvPr id="21" name="CuadroTexto 5">
            <a:extLst>
              <a:ext uri="{FF2B5EF4-FFF2-40B4-BE49-F238E27FC236}">
                <a16:creationId xmlns:a16="http://schemas.microsoft.com/office/drawing/2014/main" id="{A7CAE01B-E12F-6B46-F90B-173B54A416D9}"/>
              </a:ext>
            </a:extLst>
          </p:cNvPr>
          <p:cNvSpPr txBox="1">
            <a:spLocks noChangeArrowheads="1"/>
          </p:cNvSpPr>
          <p:nvPr/>
        </p:nvSpPr>
        <p:spPr bwMode="auto">
          <a:xfrm>
            <a:off x="9178031" y="1259613"/>
            <a:ext cx="2480463" cy="1877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marR="0" lvl="0" indent="-285750" algn="l" defTabSz="914400" rtl="0" eaLnBrk="1" fontAlgn="auto" latinLnBrk="0" hangingPunct="1">
              <a:lnSpc>
                <a:spcPct val="10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Project management</a:t>
            </a:r>
          </a:p>
          <a:p>
            <a:pPr marL="285750" marR="0" lvl="0" indent="-285750" algn="l" defTabSz="914400" rtl="0" eaLnBrk="1" fontAlgn="auto" latinLnBrk="0" hangingPunct="1">
              <a:lnSpc>
                <a:spcPct val="10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Decision making</a:t>
            </a:r>
          </a:p>
          <a:p>
            <a:pPr marL="285750" marR="0" lvl="0" indent="-285750" algn="l" defTabSz="914400" rtl="0" eaLnBrk="1" fontAlgn="auto" latinLnBrk="0" hangingPunct="1">
              <a:lnSpc>
                <a:spcPct val="10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Barrier resolution</a:t>
            </a:r>
          </a:p>
          <a:p>
            <a:pPr marL="285750" marR="0" lvl="0" indent="-285750" algn="l" defTabSz="914400" rtl="0" eaLnBrk="1" fontAlgn="auto" latinLnBrk="0" hangingPunct="1">
              <a:lnSpc>
                <a:spcPct val="10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Tools and best practices experience</a:t>
            </a:r>
          </a:p>
          <a:p>
            <a:pPr marL="285750" marR="0" lvl="0" indent="-285750" algn="l" defTabSz="914400" rtl="0" eaLnBrk="1" fontAlgn="auto" latinLnBrk="0" hangingPunct="1">
              <a:lnSpc>
                <a:spcPct val="10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Industry and functional expertise and quality control</a:t>
            </a:r>
            <a:endParaRPr kumimoji="0" lang="es-CO"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endParaRPr>
          </a:p>
        </p:txBody>
      </p:sp>
      <p:pic>
        <p:nvPicPr>
          <p:cNvPr id="24" name="Imagen 23">
            <a:extLst>
              <a:ext uri="{FF2B5EF4-FFF2-40B4-BE49-F238E27FC236}">
                <a16:creationId xmlns:a16="http://schemas.microsoft.com/office/drawing/2014/main" id="{E9A45FF4-E555-2970-710F-3F77D79056A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67044" y="227259"/>
            <a:ext cx="1751115" cy="572962"/>
          </a:xfrm>
          <a:prstGeom prst="rect">
            <a:avLst/>
          </a:prstGeom>
        </p:spPr>
      </p:pic>
      <p:sp>
        <p:nvSpPr>
          <p:cNvPr id="25" name="Triángulo isósceles 4">
            <a:extLst>
              <a:ext uri="{FF2B5EF4-FFF2-40B4-BE49-F238E27FC236}">
                <a16:creationId xmlns:a16="http://schemas.microsoft.com/office/drawing/2014/main" id="{69864C17-768B-116B-FE64-FE8E8EB1D150}"/>
              </a:ext>
            </a:extLst>
          </p:cNvPr>
          <p:cNvSpPr>
            <a:spLocks noChangeArrowheads="1"/>
          </p:cNvSpPr>
          <p:nvPr/>
        </p:nvSpPr>
        <p:spPr bwMode="auto">
          <a:xfrm rot="5400000">
            <a:off x="8465829" y="2166740"/>
            <a:ext cx="955827" cy="113614"/>
          </a:xfrm>
          <a:prstGeom prst="triangle">
            <a:avLst>
              <a:gd name="adj" fmla="val 50000"/>
            </a:avLst>
          </a:prstGeom>
          <a:solidFill>
            <a:srgbClr val="8D80FF"/>
          </a:solidFill>
          <a:ln w="9525">
            <a:solidFill>
              <a:srgbClr val="8D80FF"/>
            </a:solidFill>
            <a:miter lim="800000"/>
            <a:headEnd/>
            <a:tailEnd/>
          </a:ln>
          <a:effectLst/>
        </p:spPr>
        <p:txBody>
          <a:bodyPr lIns="91340" tIns="45671" rIns="91340" bIns="4567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304258"/>
              </a:solidFill>
              <a:effectLst/>
              <a:uLnTx/>
              <a:uFillTx/>
              <a:latin typeface="Poppins Light"/>
              <a:ea typeface="+mn-ea"/>
              <a:cs typeface="+mn-cs"/>
            </a:endParaRPr>
          </a:p>
        </p:txBody>
      </p:sp>
      <p:cxnSp>
        <p:nvCxnSpPr>
          <p:cNvPr id="26" name="Straight Connector 32">
            <a:extLst>
              <a:ext uri="{FF2B5EF4-FFF2-40B4-BE49-F238E27FC236}">
                <a16:creationId xmlns:a16="http://schemas.microsoft.com/office/drawing/2014/main" id="{364F68A7-05B8-C2E3-925A-BE883C3F10F4}"/>
              </a:ext>
            </a:extLst>
          </p:cNvPr>
          <p:cNvCxnSpPr>
            <a:cxnSpLocks/>
          </p:cNvCxnSpPr>
          <p:nvPr/>
        </p:nvCxnSpPr>
        <p:spPr>
          <a:xfrm flipV="1">
            <a:off x="785324" y="3446893"/>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32">
            <a:extLst>
              <a:ext uri="{FF2B5EF4-FFF2-40B4-BE49-F238E27FC236}">
                <a16:creationId xmlns:a16="http://schemas.microsoft.com/office/drawing/2014/main" id="{4A313BD5-C2F3-B4FB-8A9A-2E31761BAFCD}"/>
              </a:ext>
            </a:extLst>
          </p:cNvPr>
          <p:cNvCxnSpPr>
            <a:cxnSpLocks/>
          </p:cNvCxnSpPr>
          <p:nvPr/>
        </p:nvCxnSpPr>
        <p:spPr>
          <a:xfrm flipV="1">
            <a:off x="816648" y="5137083"/>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32">
            <a:extLst>
              <a:ext uri="{FF2B5EF4-FFF2-40B4-BE49-F238E27FC236}">
                <a16:creationId xmlns:a16="http://schemas.microsoft.com/office/drawing/2014/main" id="{360D8FDE-2CF7-CF71-DB77-4A7FEEB1A2BF}"/>
              </a:ext>
            </a:extLst>
          </p:cNvPr>
          <p:cNvCxnSpPr>
            <a:cxnSpLocks/>
          </p:cNvCxnSpPr>
          <p:nvPr/>
        </p:nvCxnSpPr>
        <p:spPr>
          <a:xfrm flipV="1">
            <a:off x="785324" y="909481"/>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9" name="Triángulo isósceles 4">
            <a:extLst>
              <a:ext uri="{FF2B5EF4-FFF2-40B4-BE49-F238E27FC236}">
                <a16:creationId xmlns:a16="http://schemas.microsoft.com/office/drawing/2014/main" id="{E875CE8F-F167-49EF-C84A-6C042D61127F}"/>
              </a:ext>
            </a:extLst>
          </p:cNvPr>
          <p:cNvSpPr>
            <a:spLocks noChangeArrowheads="1"/>
          </p:cNvSpPr>
          <p:nvPr/>
        </p:nvSpPr>
        <p:spPr bwMode="auto">
          <a:xfrm rot="5400000">
            <a:off x="8459661" y="4034057"/>
            <a:ext cx="955827" cy="113614"/>
          </a:xfrm>
          <a:prstGeom prst="triangle">
            <a:avLst>
              <a:gd name="adj" fmla="val 50000"/>
            </a:avLst>
          </a:prstGeom>
          <a:solidFill>
            <a:srgbClr val="8D80FF"/>
          </a:solidFill>
          <a:ln w="9525">
            <a:solidFill>
              <a:srgbClr val="8D80FF"/>
            </a:solidFill>
            <a:miter lim="800000"/>
            <a:headEnd/>
            <a:tailEnd/>
          </a:ln>
          <a:effectLst/>
        </p:spPr>
        <p:txBody>
          <a:bodyPr lIns="91340" tIns="45671" rIns="91340" bIns="4567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304258"/>
              </a:solidFill>
              <a:effectLst/>
              <a:uLnTx/>
              <a:uFillTx/>
              <a:latin typeface="Poppins Light"/>
              <a:ea typeface="+mn-ea"/>
              <a:cs typeface="+mn-cs"/>
            </a:endParaRPr>
          </a:p>
        </p:txBody>
      </p:sp>
      <p:sp>
        <p:nvSpPr>
          <p:cNvPr id="30" name="Triángulo isósceles 4">
            <a:extLst>
              <a:ext uri="{FF2B5EF4-FFF2-40B4-BE49-F238E27FC236}">
                <a16:creationId xmlns:a16="http://schemas.microsoft.com/office/drawing/2014/main" id="{3D8FBE08-29A9-3B6C-AA86-93200B2ED18E}"/>
              </a:ext>
            </a:extLst>
          </p:cNvPr>
          <p:cNvSpPr>
            <a:spLocks noChangeArrowheads="1"/>
          </p:cNvSpPr>
          <p:nvPr/>
        </p:nvSpPr>
        <p:spPr bwMode="auto">
          <a:xfrm rot="5400000">
            <a:off x="8459660" y="5742466"/>
            <a:ext cx="955827" cy="113614"/>
          </a:xfrm>
          <a:prstGeom prst="triangle">
            <a:avLst>
              <a:gd name="adj" fmla="val 50000"/>
            </a:avLst>
          </a:prstGeom>
          <a:solidFill>
            <a:srgbClr val="8D80FF"/>
          </a:solidFill>
          <a:ln w="9525">
            <a:solidFill>
              <a:srgbClr val="8D80FF"/>
            </a:solidFill>
            <a:miter lim="800000"/>
            <a:headEnd/>
            <a:tailEnd/>
          </a:ln>
          <a:effectLst/>
        </p:spPr>
        <p:txBody>
          <a:bodyPr lIns="91340" tIns="45671" rIns="91340" bIns="4567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304258"/>
              </a:solidFill>
              <a:effectLst/>
              <a:uLnTx/>
              <a:uFillTx/>
              <a:latin typeface="Poppins Light"/>
              <a:ea typeface="+mn-ea"/>
              <a:cs typeface="+mn-cs"/>
            </a:endParaRPr>
          </a:p>
        </p:txBody>
      </p:sp>
      <p:sp>
        <p:nvSpPr>
          <p:cNvPr id="32" name="CuadroTexto 31">
            <a:extLst>
              <a:ext uri="{FF2B5EF4-FFF2-40B4-BE49-F238E27FC236}">
                <a16:creationId xmlns:a16="http://schemas.microsoft.com/office/drawing/2014/main" id="{0C201B35-BE25-74E4-9F5D-693AA05744F7}"/>
              </a:ext>
            </a:extLst>
          </p:cNvPr>
          <p:cNvSpPr txBox="1"/>
          <p:nvPr/>
        </p:nvSpPr>
        <p:spPr>
          <a:xfrm>
            <a:off x="3248485" y="5450728"/>
            <a:ext cx="251101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Specialized recruiters and interview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Secondary research specialists and tol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a:rPr>
              <a:t>Financial</a:t>
            </a: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a:rPr>
              <a:t>modeling</a:t>
            </a: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a:rPr>
              <a:t>expert</a:t>
            </a:r>
            <a:endPar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O" sz="1200" dirty="0">
                <a:solidFill>
                  <a:srgbClr val="FFFFFF"/>
                </a:solidFill>
                <a:latin typeface="Poppins Light"/>
                <a:ea typeface="Lato"/>
                <a:cs typeface="Poppins ExtraLight"/>
              </a:rPr>
              <a:t>Design </a:t>
            </a:r>
            <a:r>
              <a:rPr lang="en" sz="1200" dirty="0">
                <a:solidFill>
                  <a:srgbClr val="FFFFFF"/>
                </a:solidFill>
                <a:latin typeface="Poppins Light"/>
                <a:ea typeface="Lato"/>
                <a:cs typeface="Poppins ExtraLight"/>
              </a:rPr>
              <a:t>thinking expert</a:t>
            </a:r>
            <a:endParaRPr kumimoji="0" lang="en" sz="1200" b="0" i="0" u="none" strike="noStrike" kern="1200" cap="none" spc="0" normalizeH="0" baseline="0" dirty="0">
              <a:ln>
                <a:noFill/>
              </a:ln>
              <a:solidFill>
                <a:srgbClr val="FFFFFF"/>
              </a:solidFill>
              <a:effectLst/>
              <a:uLnTx/>
              <a:uFillTx/>
              <a:latin typeface="Poppins Light"/>
              <a:ea typeface="Lato"/>
              <a:cs typeface="Poppins ExtraLight"/>
            </a:endParaRPr>
          </a:p>
        </p:txBody>
      </p:sp>
      <p:sp>
        <p:nvSpPr>
          <p:cNvPr id="34" name="CuadroTexto 5">
            <a:extLst>
              <a:ext uri="{FF2B5EF4-FFF2-40B4-BE49-F238E27FC236}">
                <a16:creationId xmlns:a16="http://schemas.microsoft.com/office/drawing/2014/main" id="{A7FC88CD-1F7E-ACAC-C3A0-9A824C13DFAD}"/>
              </a:ext>
            </a:extLst>
          </p:cNvPr>
          <p:cNvSpPr txBox="1">
            <a:spLocks noChangeArrowheads="1"/>
          </p:cNvSpPr>
          <p:nvPr/>
        </p:nvSpPr>
        <p:spPr bwMode="auto">
          <a:xfrm>
            <a:off x="9178031" y="3612950"/>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marL="285750" marR="0" lvl="0" indent="-285750" algn="l" defTabSz="914400" rtl="0" eaLnBrk="0" fontAlgn="auto" latinLnBrk="0" hangingPunct="0">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Expertise</a:t>
            </a:r>
          </a:p>
          <a:p>
            <a:pPr marL="285750" marR="0" lvl="0" indent="-285750" algn="l" defTabSz="914400" rtl="0" eaLnBrk="0" fontAlgn="auto" latinLnBrk="0" hangingPunct="0">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Agile work management</a:t>
            </a:r>
          </a:p>
          <a:p>
            <a:pPr marL="285750" marR="0" lvl="0" indent="-285750" algn="l" defTabSz="914400" rtl="0" eaLnBrk="0" fontAlgn="auto" latinLnBrk="0" hangingPunct="0">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Hypothesis validation</a:t>
            </a:r>
          </a:p>
          <a:p>
            <a:pPr marL="285750" marR="0" lvl="0" indent="-285750" algn="l" defTabSz="914400" rtl="0" eaLnBrk="0" fontAlgn="auto" latinLnBrk="0" hangingPunct="0">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rPr>
              <a:t>Recommendations and quality control</a:t>
            </a:r>
            <a:endParaRPr kumimoji="0" lang="es-CO"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a:endParaRPr>
          </a:p>
        </p:txBody>
      </p:sp>
      <p:sp>
        <p:nvSpPr>
          <p:cNvPr id="35" name="CuadroTexto 42">
            <a:extLst>
              <a:ext uri="{FF2B5EF4-FFF2-40B4-BE49-F238E27FC236}">
                <a16:creationId xmlns:a16="http://schemas.microsoft.com/office/drawing/2014/main" id="{66061F05-43AC-459D-B35D-6529A51078D3}"/>
              </a:ext>
            </a:extLst>
          </p:cNvPr>
          <p:cNvSpPr txBox="1">
            <a:spLocks noChangeArrowheads="1"/>
          </p:cNvSpPr>
          <p:nvPr/>
        </p:nvSpPr>
        <p:spPr bwMode="auto">
          <a:xfrm>
            <a:off x="9204272" y="5223876"/>
            <a:ext cx="2795956" cy="13218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marL="285750" marR="0" lvl="0" indent="-285750" algn="l" defTabSz="914400" rtl="0" eaLnBrk="1" fontAlgn="auto" latinLnBrk="0" hangingPunct="1">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panose="00000300000000000000" pitchFamily="2" charset="0"/>
              </a:rPr>
              <a:t>Data collection</a:t>
            </a:r>
          </a:p>
          <a:p>
            <a:pPr marL="285750" marR="0" lvl="0" indent="-285750" algn="l" defTabSz="914400" rtl="0" eaLnBrk="1" fontAlgn="auto" latinLnBrk="0" hangingPunct="1">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panose="00000300000000000000" pitchFamily="2" charset="0"/>
              </a:rPr>
              <a:t>Structuring and development of analysis and modeling</a:t>
            </a:r>
          </a:p>
          <a:p>
            <a:pPr marL="285750" marR="0" lvl="0" indent="-285750" algn="l" defTabSz="914400" rtl="0" eaLnBrk="1" fontAlgn="auto" latinLnBrk="0" hangingPunct="1">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panose="00000300000000000000" pitchFamily="2" charset="0"/>
              </a:rPr>
              <a:t>Technical analysis and development</a:t>
            </a:r>
          </a:p>
          <a:p>
            <a:pPr marL="285750" marR="0" lvl="0" indent="-285750" algn="l" defTabSz="914400" rtl="0" eaLnBrk="1" fontAlgn="auto" latinLnBrk="0" hangingPunct="1">
              <a:lnSpc>
                <a:spcPct val="90000"/>
              </a:lnSpc>
              <a:spcBef>
                <a:spcPts val="600"/>
              </a:spcBef>
              <a:spcAft>
                <a:spcPts val="0"/>
              </a:spcAft>
              <a:buClr>
                <a:srgbClr val="9683FF"/>
              </a:buClr>
              <a:buSzPct val="120000"/>
              <a:buFont typeface="Wingdings" panose="05000000000000000000" pitchFamily="2" charset="2"/>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panose="00000300000000000000" pitchFamily="2" charset="0"/>
              </a:rPr>
              <a:t>Logistics</a:t>
            </a:r>
            <a:endParaRPr kumimoji="0" lang="es-CO" sz="1200" b="0" i="0" u="none" strike="noStrike" kern="1200" cap="none" spc="0" normalizeH="0" baseline="0" noProof="0" dirty="0">
              <a:ln>
                <a:noFill/>
              </a:ln>
              <a:solidFill>
                <a:srgbClr val="FFFFFF">
                  <a:lumMod val="50000"/>
                </a:srgbClr>
              </a:solidFill>
              <a:effectLst/>
              <a:uLnTx/>
              <a:uFillTx/>
              <a:latin typeface="Poppins Light"/>
              <a:ea typeface="Lato"/>
              <a:cs typeface="Poppins ExtraLight" panose="00000300000000000000" pitchFamily="2" charset="0"/>
            </a:endParaRPr>
          </a:p>
        </p:txBody>
      </p:sp>
      <p:sp>
        <p:nvSpPr>
          <p:cNvPr id="38" name="CuadroTexto 7">
            <a:extLst>
              <a:ext uri="{FF2B5EF4-FFF2-40B4-BE49-F238E27FC236}">
                <a16:creationId xmlns:a16="http://schemas.microsoft.com/office/drawing/2014/main" id="{7537C1F2-EE06-FC1D-F1FA-F38082EA05AD}"/>
              </a:ext>
            </a:extLst>
          </p:cNvPr>
          <p:cNvSpPr txBox="1">
            <a:spLocks noChangeArrowheads="1"/>
          </p:cNvSpPr>
          <p:nvPr/>
        </p:nvSpPr>
        <p:spPr bwMode="auto">
          <a:xfrm>
            <a:off x="6203514" y="5482863"/>
            <a:ext cx="2309350" cy="830997"/>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rtlCol="0">
            <a:spAutoFit/>
          </a:bodyPr>
          <a:lstStyle>
            <a:defPPr>
              <a:defRPr lang="en-US"/>
            </a:defPPr>
            <a:lvl1pPr marL="171450" indent="-171450">
              <a:buFont typeface="Arial" panose="020B0604020202020204" pitchFamily="34" charset="0"/>
              <a:buChar char="•"/>
              <a:defRPr sz="1200">
                <a:solidFill>
                  <a:schemeClr val="bg1"/>
                </a:solidFill>
                <a:ea typeface="Lato"/>
                <a:cs typeface="Poppins ExtraLight"/>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Internal coordinator – single point of cont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Internal list and information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a:rPr>
              <a:t>providers</a:t>
            </a:r>
            <a:endPar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endParaRPr>
          </a:p>
        </p:txBody>
      </p:sp>
      <p:cxnSp>
        <p:nvCxnSpPr>
          <p:cNvPr id="40" name="Conector recto 39">
            <a:extLst>
              <a:ext uri="{FF2B5EF4-FFF2-40B4-BE49-F238E27FC236}">
                <a16:creationId xmlns:a16="http://schemas.microsoft.com/office/drawing/2014/main" id="{719123BE-56D8-CD35-1ACD-CA2B4879D369}"/>
              </a:ext>
            </a:extLst>
          </p:cNvPr>
          <p:cNvCxnSpPr/>
          <p:nvPr/>
        </p:nvCxnSpPr>
        <p:spPr>
          <a:xfrm>
            <a:off x="3451461" y="2457521"/>
            <a:ext cx="225049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Imagen 41">
            <a:extLst>
              <a:ext uri="{FF2B5EF4-FFF2-40B4-BE49-F238E27FC236}">
                <a16:creationId xmlns:a16="http://schemas.microsoft.com/office/drawing/2014/main" id="{8A32DD14-61F9-88E4-2142-66EAEB8BAEC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0575" y="5285701"/>
            <a:ext cx="465408" cy="612661"/>
          </a:xfrm>
          <a:prstGeom prst="rect">
            <a:avLst/>
          </a:prstGeom>
        </p:spPr>
      </p:pic>
      <p:pic>
        <p:nvPicPr>
          <p:cNvPr id="44" name="Imagen 43">
            <a:extLst>
              <a:ext uri="{FF2B5EF4-FFF2-40B4-BE49-F238E27FC236}">
                <a16:creationId xmlns:a16="http://schemas.microsoft.com/office/drawing/2014/main" id="{17974EB7-087B-5DA9-5C6B-0782A68B690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2831" y="1659746"/>
            <a:ext cx="460927" cy="683060"/>
          </a:xfrm>
          <a:prstGeom prst="rect">
            <a:avLst/>
          </a:prstGeom>
        </p:spPr>
      </p:pic>
      <p:pic>
        <p:nvPicPr>
          <p:cNvPr id="2" name="Imagen 1" descr="Forma, Icono, Círculo&#10;&#10;Descripción generada automáticamente">
            <a:extLst>
              <a:ext uri="{FF2B5EF4-FFF2-40B4-BE49-F238E27FC236}">
                <a16:creationId xmlns:a16="http://schemas.microsoft.com/office/drawing/2014/main" id="{57E6A3A4-C8D9-C2A0-E052-9D01D701AAA3}"/>
              </a:ext>
            </a:extLst>
          </p:cNvPr>
          <p:cNvPicPr>
            <a:picLocks noChangeAspect="1"/>
          </p:cNvPicPr>
          <p:nvPr/>
        </p:nvPicPr>
        <p:blipFill>
          <a:blip r:embed="rId10"/>
          <a:stretch>
            <a:fillRect/>
          </a:stretch>
        </p:blipFill>
        <p:spPr>
          <a:xfrm>
            <a:off x="1088567" y="3818466"/>
            <a:ext cx="549135" cy="530579"/>
          </a:xfrm>
          <a:prstGeom prst="rect">
            <a:avLst/>
          </a:prstGeom>
        </p:spPr>
      </p:pic>
      <p:sp>
        <p:nvSpPr>
          <p:cNvPr id="12" name="CuadroTexto 11">
            <a:extLst>
              <a:ext uri="{FF2B5EF4-FFF2-40B4-BE49-F238E27FC236}">
                <a16:creationId xmlns:a16="http://schemas.microsoft.com/office/drawing/2014/main" id="{F0AE4DC1-3BF2-6979-2952-E021BB352DA3}"/>
              </a:ext>
            </a:extLst>
          </p:cNvPr>
          <p:cNvSpPr txBox="1"/>
          <p:nvPr/>
        </p:nvSpPr>
        <p:spPr>
          <a:xfrm>
            <a:off x="6195425" y="1940514"/>
            <a:ext cx="1801449" cy="276999"/>
          </a:xfrm>
          <a:prstGeom prst="rect">
            <a:avLst/>
          </a:prstGeom>
          <a:noFill/>
        </p:spPr>
        <p:txBody>
          <a:bodyPr wrap="square" rtlCol="0">
            <a:spAutoFit/>
          </a:bodyPr>
          <a:lstStyle>
            <a:defPPr>
              <a:defRPr lang="en-US"/>
            </a:defPPr>
            <a:lvl1pPr algn="ctr">
              <a:defRPr sz="1200">
                <a:solidFill>
                  <a:schemeClr val="bg1"/>
                </a:solidFill>
                <a:ea typeface="Lato"/>
                <a:cs typeface="Poppins ExtraLight"/>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Poppins Light"/>
                <a:ea typeface="Lato"/>
                <a:cs typeface="Poppins ExtraLight"/>
              </a:rPr>
              <a:t>Alexander </a:t>
            </a:r>
            <a:r>
              <a:rPr kumimoji="0" lang="en-US" sz="1200" b="0" i="0" u="none" strike="noStrike" kern="1200" cap="none" spc="0" normalizeH="0" baseline="0" noProof="0" dirty="0" err="1">
                <a:ln>
                  <a:noFill/>
                </a:ln>
                <a:solidFill>
                  <a:srgbClr val="FFFFFF"/>
                </a:solidFill>
                <a:effectLst/>
                <a:uLnTx/>
                <a:uFillTx/>
                <a:latin typeface="Poppins Light"/>
                <a:ea typeface="Lato"/>
                <a:cs typeface="Poppins ExtraLight"/>
              </a:rPr>
              <a:t>Curti</a:t>
            </a:r>
            <a:endParaRPr kumimoji="0" lang="es-419" sz="1200" b="0" i="0" u="none" strike="noStrike" kern="1200" cap="none" spc="0" normalizeH="0" baseline="0" noProof="0" dirty="0">
              <a:ln>
                <a:noFill/>
              </a:ln>
              <a:solidFill>
                <a:srgbClr val="FFFFFF"/>
              </a:solidFill>
              <a:effectLst/>
              <a:uLnTx/>
              <a:uFillTx/>
              <a:latin typeface="Poppins Light"/>
              <a:ea typeface="Lato"/>
              <a:cs typeface="Poppins ExtraLight"/>
            </a:endParaRPr>
          </a:p>
        </p:txBody>
      </p:sp>
      <p:sp>
        <p:nvSpPr>
          <p:cNvPr id="16" name="CuadroTexto 15">
            <a:extLst>
              <a:ext uri="{FF2B5EF4-FFF2-40B4-BE49-F238E27FC236}">
                <a16:creationId xmlns:a16="http://schemas.microsoft.com/office/drawing/2014/main" id="{F7F0E1E4-1582-349D-A6CE-8BBA7939169E}"/>
              </a:ext>
            </a:extLst>
          </p:cNvPr>
          <p:cNvSpPr txBox="1"/>
          <p:nvPr/>
        </p:nvSpPr>
        <p:spPr>
          <a:xfrm>
            <a:off x="3248485" y="3987407"/>
            <a:ext cx="2640536" cy="9079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0"/>
              </a:spcAft>
              <a:buClr>
                <a:srgbClr val="9683FF"/>
              </a:buClr>
              <a:buSzPct val="120000"/>
              <a:buFont typeface="Wingdings" panose="05000000000000000000" pitchFamily="2" charset="2"/>
              <a:buChar char="§"/>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panose="00000300000000000000" pitchFamily="2" charset="0"/>
              </a:rPr>
              <a:t>Project manager expert in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panose="00000300000000000000" pitchFamily="2" charset="0"/>
              </a:rPr>
              <a:t>Market</a:t>
            </a: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panose="00000300000000000000" pitchFamily="2" charset="0"/>
              </a:rPr>
              <a:t>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panose="00000300000000000000" pitchFamily="2" charset="0"/>
              </a:rPr>
              <a:t>assessment</a:t>
            </a: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panose="00000300000000000000" pitchFamily="2" charset="0"/>
              </a:rPr>
              <a:t> and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panose="00000300000000000000" pitchFamily="2" charset="0"/>
              </a:rPr>
              <a:t>customer</a:t>
            </a: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panose="00000300000000000000" pitchFamily="2" charset="0"/>
              </a:rPr>
              <a:t>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panose="00000300000000000000" pitchFamily="2" charset="0"/>
              </a:rPr>
              <a:t>needs</a:t>
            </a:r>
            <a:endParaRPr kumimoji="0" lang="es-CO" sz="1200" b="0" i="0" u="none" strike="noStrike" kern="1200" cap="none" spc="0" normalizeH="0" baseline="0" noProof="0" dirty="0">
              <a:ln>
                <a:noFill/>
              </a:ln>
              <a:solidFill>
                <a:srgbClr val="FFFFFF"/>
              </a:solidFill>
              <a:effectLst/>
              <a:uLnTx/>
              <a:uFillTx/>
              <a:latin typeface="Poppins Light"/>
              <a:ea typeface="Lato"/>
              <a:cs typeface="Poppins ExtraLight" panose="00000300000000000000" pitchFamily="2" charset="0"/>
            </a:endParaRPr>
          </a:p>
          <a:p>
            <a:pPr marL="285750" marR="0" lvl="0" indent="-285750" algn="l" defTabSz="914400" rtl="0" eaLnBrk="1" fontAlgn="auto" latinLnBrk="0" hangingPunct="1">
              <a:lnSpc>
                <a:spcPct val="100000"/>
              </a:lnSpc>
              <a:spcBef>
                <a:spcPts val="600"/>
              </a:spcBef>
              <a:spcAft>
                <a:spcPts val="0"/>
              </a:spcAft>
              <a:buClr>
                <a:srgbClr val="9683FF"/>
              </a:buClr>
              <a:buSzPct val="120000"/>
              <a:buFont typeface="Wingdings" panose="05000000000000000000" pitchFamily="2" charset="2"/>
              <a:buChar char="§"/>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panose="00000300000000000000" pitchFamily="2" charset="0"/>
              </a:rPr>
              <a:t>IOTA Account Manager </a:t>
            </a:r>
          </a:p>
        </p:txBody>
      </p:sp>
      <p:sp>
        <p:nvSpPr>
          <p:cNvPr id="5" name="CuadroTexto 16">
            <a:extLst>
              <a:ext uri="{FF2B5EF4-FFF2-40B4-BE49-F238E27FC236}">
                <a16:creationId xmlns:a16="http://schemas.microsoft.com/office/drawing/2014/main" id="{BF63626E-760F-FD21-4E0B-8682E959528C}"/>
              </a:ext>
            </a:extLst>
          </p:cNvPr>
          <p:cNvSpPr txBox="1"/>
          <p:nvPr/>
        </p:nvSpPr>
        <p:spPr>
          <a:xfrm>
            <a:off x="4745072" y="1862745"/>
            <a:ext cx="11539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rPr>
              <a:t>Jordi </a:t>
            </a:r>
            <a:r>
              <a:rPr kumimoji="0" lang="es-CO" sz="1200" b="0" i="0" u="none" strike="noStrike" kern="1200" cap="none" spc="0" normalizeH="0" baseline="0" noProof="0" dirty="0" err="1">
                <a:ln>
                  <a:noFill/>
                </a:ln>
                <a:solidFill>
                  <a:srgbClr val="FFFFFF"/>
                </a:solidFill>
                <a:effectLst/>
                <a:uLnTx/>
                <a:uFillTx/>
                <a:latin typeface="Poppins Light"/>
                <a:ea typeface="Lato"/>
                <a:cs typeface="Poppins ExtraLight"/>
              </a:rPr>
              <a:t>Monso</a:t>
            </a:r>
            <a:endParaRPr kumimoji="0" lang="es-CO" sz="1200" b="0" i="0" u="none" strike="noStrike" kern="1200" cap="none" spc="0" normalizeH="0" baseline="0" noProof="0" dirty="0">
              <a:ln>
                <a:noFill/>
              </a:ln>
              <a:solidFill>
                <a:srgbClr val="FFFFFF"/>
              </a:solidFill>
              <a:effectLst/>
              <a:uLnTx/>
              <a:uFillTx/>
              <a:latin typeface="Poppins Light"/>
              <a:ea typeface="Lato"/>
              <a:cs typeface="Poppins ExtraLight"/>
            </a:endParaRPr>
          </a:p>
        </p:txBody>
      </p:sp>
      <p:pic>
        <p:nvPicPr>
          <p:cNvPr id="5122" name="Picture 2">
            <a:extLst>
              <a:ext uri="{FF2B5EF4-FFF2-40B4-BE49-F238E27FC236}">
                <a16:creationId xmlns:a16="http://schemas.microsoft.com/office/drawing/2014/main" id="{2B4E100E-D3A9-286D-41F4-9233F784042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96025" y="1062675"/>
            <a:ext cx="724690" cy="72469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Global Property Management Group Odevo Continues U.S. Expansion With ...">
            <a:extLst>
              <a:ext uri="{FF2B5EF4-FFF2-40B4-BE49-F238E27FC236}">
                <a16:creationId xmlns:a16="http://schemas.microsoft.com/office/drawing/2014/main" id="{D76FABA3-4ADD-71FE-8D81-32AF01D7A83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Global Property Management Group Odevo Continues U.S. Expansion With ...">
            <a:extLst>
              <a:ext uri="{FF2B5EF4-FFF2-40B4-BE49-F238E27FC236}">
                <a16:creationId xmlns:a16="http://schemas.microsoft.com/office/drawing/2014/main" id="{FA6F8518-F996-036B-D62C-263BA678F0F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89869" y="170434"/>
            <a:ext cx="1207005" cy="631665"/>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11">
            <a:extLst>
              <a:ext uri="{FF2B5EF4-FFF2-40B4-BE49-F238E27FC236}">
                <a16:creationId xmlns:a16="http://schemas.microsoft.com/office/drawing/2014/main" id="{BD9BFAAA-E206-D766-44A2-92EA9EF2D1F7}"/>
              </a:ext>
            </a:extLst>
          </p:cNvPr>
          <p:cNvSpPr txBox="1"/>
          <p:nvPr/>
        </p:nvSpPr>
        <p:spPr>
          <a:xfrm>
            <a:off x="6180116" y="3952364"/>
            <a:ext cx="1801449" cy="276999"/>
          </a:xfrm>
          <a:prstGeom prst="rect">
            <a:avLst/>
          </a:prstGeom>
          <a:noFill/>
        </p:spPr>
        <p:txBody>
          <a:bodyPr wrap="square" rtlCol="0">
            <a:spAutoFit/>
          </a:bodyPr>
          <a:lstStyle>
            <a:defPPr>
              <a:defRPr lang="en-US"/>
            </a:defPPr>
            <a:lvl1pPr algn="ctr">
              <a:defRPr sz="1200">
                <a:solidFill>
                  <a:schemeClr val="bg1"/>
                </a:solidFill>
                <a:ea typeface="Lato"/>
                <a:cs typeface="Poppins ExtraLight"/>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Poppins Light"/>
                <a:ea typeface="Lato"/>
                <a:cs typeface="Poppins ExtraLight"/>
              </a:rPr>
              <a:t>TBD</a:t>
            </a:r>
            <a:endParaRPr kumimoji="0" lang="es-419" sz="1200" b="0" i="0" u="none" strike="noStrike" kern="1200" cap="none" spc="0" normalizeH="0" baseline="0" noProof="0" dirty="0">
              <a:ln>
                <a:noFill/>
              </a:ln>
              <a:solidFill>
                <a:srgbClr val="FFFFFF"/>
              </a:solidFill>
              <a:effectLst/>
              <a:uLnTx/>
              <a:uFillTx/>
              <a:latin typeface="Poppins Light"/>
              <a:ea typeface="Lato"/>
              <a:cs typeface="Poppins ExtraLight"/>
            </a:endParaRPr>
          </a:p>
        </p:txBody>
      </p:sp>
    </p:spTree>
    <p:extLst>
      <p:ext uri="{BB962C8B-B14F-4D97-AF65-F5344CB8AC3E}">
        <p14:creationId xmlns:p14="http://schemas.microsoft.com/office/powerpoint/2010/main" val="38418512"/>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32">
            <a:extLst>
              <a:ext uri="{FF2B5EF4-FFF2-40B4-BE49-F238E27FC236}">
                <a16:creationId xmlns:a16="http://schemas.microsoft.com/office/drawing/2014/main" id="{360D8FDE-2CF7-CF71-DB77-4A7FEEB1A2BF}"/>
              </a:ext>
            </a:extLst>
          </p:cNvPr>
          <p:cNvCxnSpPr>
            <a:cxnSpLocks/>
          </p:cNvCxnSpPr>
          <p:nvPr/>
        </p:nvCxnSpPr>
        <p:spPr>
          <a:xfrm flipV="1">
            <a:off x="785324" y="909481"/>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Picture 2" descr="Global Property Management Group Odevo Continues U.S. Expansion With ...">
            <a:extLst>
              <a:ext uri="{FF2B5EF4-FFF2-40B4-BE49-F238E27FC236}">
                <a16:creationId xmlns:a16="http://schemas.microsoft.com/office/drawing/2014/main" id="{D76FABA3-4ADD-71FE-8D81-32AF01D7A8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3" name="Título 2">
            <a:extLst>
              <a:ext uri="{FF2B5EF4-FFF2-40B4-BE49-F238E27FC236}">
                <a16:creationId xmlns:a16="http://schemas.microsoft.com/office/drawing/2014/main" id="{78081703-5B2C-4C07-65E8-19B693AE4878}"/>
              </a:ext>
            </a:extLst>
          </p:cNvPr>
          <p:cNvSpPr>
            <a:spLocks noGrp="1"/>
          </p:cNvSpPr>
          <p:nvPr>
            <p:ph type="title"/>
          </p:nvPr>
        </p:nvSpPr>
        <p:spPr/>
        <p:txBody>
          <a:bodyPr/>
          <a:lstStyle/>
          <a:p>
            <a:r>
              <a:rPr lang="es-CO" dirty="0"/>
              <a:t>Project </a:t>
            </a:r>
            <a:r>
              <a:rPr lang="es-CO" dirty="0" err="1"/>
              <a:t>directors</a:t>
            </a:r>
            <a:endParaRPr lang="es-CO" dirty="0"/>
          </a:p>
        </p:txBody>
      </p:sp>
      <p:sp>
        <p:nvSpPr>
          <p:cNvPr id="15" name="Freeform 23">
            <a:extLst>
              <a:ext uri="{FF2B5EF4-FFF2-40B4-BE49-F238E27FC236}">
                <a16:creationId xmlns:a16="http://schemas.microsoft.com/office/drawing/2014/main" id="{ED8964C2-0094-75A6-CEC6-E55BBDDF8B34}"/>
              </a:ext>
            </a:extLst>
          </p:cNvPr>
          <p:cNvSpPr/>
          <p:nvPr/>
        </p:nvSpPr>
        <p:spPr>
          <a:xfrm>
            <a:off x="2688938" y="1286783"/>
            <a:ext cx="1237189" cy="1265304"/>
          </a:xfrm>
          <a:custGeom>
            <a:avLst/>
            <a:gdLst/>
            <a:ahLst/>
            <a:cxnLst/>
            <a:rect l="l" t="t" r="r" b="b"/>
            <a:pathLst>
              <a:path w="1409873" h="1409873">
                <a:moveTo>
                  <a:pt x="0" y="0"/>
                </a:moveTo>
                <a:lnTo>
                  <a:pt x="1409873" y="0"/>
                </a:lnTo>
                <a:lnTo>
                  <a:pt x="1409873" y="1409873"/>
                </a:lnTo>
                <a:lnTo>
                  <a:pt x="0" y="1409873"/>
                </a:lnTo>
                <a:lnTo>
                  <a:pt x="0" y="0"/>
                </a:lnTo>
                <a:close/>
              </a:path>
            </a:pathLst>
          </a:custGeom>
          <a:blipFill>
            <a:blip r:embed="rId3"/>
            <a:stretch>
              <a:fillRect/>
            </a:stretch>
          </a:blipFill>
          <a:ln cap="sq">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O" sz="1200" dirty="0"/>
          </a:p>
        </p:txBody>
      </p:sp>
      <p:sp>
        <p:nvSpPr>
          <p:cNvPr id="19" name="TextBox 28">
            <a:extLst>
              <a:ext uri="{FF2B5EF4-FFF2-40B4-BE49-F238E27FC236}">
                <a16:creationId xmlns:a16="http://schemas.microsoft.com/office/drawing/2014/main" id="{C513686B-45C4-0222-FBC8-74715668B7FE}"/>
              </a:ext>
            </a:extLst>
          </p:cNvPr>
          <p:cNvSpPr txBox="1"/>
          <p:nvPr/>
        </p:nvSpPr>
        <p:spPr>
          <a:xfrm>
            <a:off x="1767203" y="2824065"/>
            <a:ext cx="3080658" cy="3357329"/>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CO" sz="2400" spc="-45" dirty="0">
                <a:solidFill>
                  <a:srgbClr val="6650B6"/>
                </a:solidFill>
                <a:latin typeface="Poppins Bold"/>
              </a:rPr>
              <a:t>Andrés Satizabal</a:t>
            </a:r>
          </a:p>
          <a:p>
            <a:pPr algn="ctr"/>
            <a:endParaRPr lang="es-CO" sz="2400" spc="-45" dirty="0">
              <a:solidFill>
                <a:srgbClr val="6650B6"/>
              </a:solidFill>
              <a:latin typeface="Poppins Bold"/>
            </a:endParaRPr>
          </a:p>
          <a:p>
            <a:pPr algn="ctr">
              <a:lnSpc>
                <a:spcPts val="792"/>
              </a:lnSpc>
            </a:pPr>
            <a:r>
              <a:rPr lang="es-CO" sz="1100" spc="-30" dirty="0">
                <a:solidFill>
                  <a:srgbClr val="6650B6"/>
                </a:solidFill>
                <a:latin typeface="Poppins Bold"/>
              </a:rPr>
              <a:t>CEO &amp; founder IOTA Impact</a:t>
            </a:r>
          </a:p>
          <a:p>
            <a:pPr algn="ctr">
              <a:lnSpc>
                <a:spcPts val="924"/>
              </a:lnSpc>
            </a:pPr>
            <a:endParaRPr lang="es-CO" sz="1100" spc="-30" dirty="0">
              <a:solidFill>
                <a:srgbClr val="6650B6"/>
              </a:solidFill>
              <a:latin typeface="Poppins Bold"/>
            </a:endParaRPr>
          </a:p>
          <a:p>
            <a:r>
              <a:rPr lang="en-US" sz="1200" spc="-35" dirty="0">
                <a:solidFill>
                  <a:schemeClr val="accent6">
                    <a:lumMod val="50000"/>
                  </a:schemeClr>
                </a:solidFill>
                <a:latin typeface="Poppins"/>
              </a:rPr>
              <a:t>With +23 years of experience in market research, analysis and consulting.</a:t>
            </a:r>
          </a:p>
          <a:p>
            <a:endParaRPr lang="en-US" sz="1200" spc="-35" dirty="0">
              <a:solidFill>
                <a:schemeClr val="accent6">
                  <a:lumMod val="50000"/>
                </a:schemeClr>
              </a:solidFill>
              <a:latin typeface="Poppins"/>
            </a:endParaRPr>
          </a:p>
          <a:p>
            <a:r>
              <a:rPr lang="en-US" sz="1200" spc="-35" dirty="0">
                <a:solidFill>
                  <a:schemeClr val="accent6">
                    <a:lumMod val="50000"/>
                  </a:schemeClr>
                </a:solidFill>
                <a:latin typeface="Poppins"/>
              </a:rPr>
              <a:t>She has supervised more than 750 market research projects and more than 50 management consulting projects globally including due diligence including 10+ at McKinsey &amp; Company (New York Office) and Advantis Consultoría Gerencial (OVAL Consultores) .</a:t>
            </a:r>
          </a:p>
          <a:p>
            <a:endParaRPr lang="en-US" sz="1200" spc="-35" dirty="0">
              <a:solidFill>
                <a:schemeClr val="accent6">
                  <a:lumMod val="50000"/>
                </a:schemeClr>
              </a:solidFill>
              <a:latin typeface="Poppins"/>
            </a:endParaRPr>
          </a:p>
          <a:p>
            <a:r>
              <a:rPr lang="en-US" sz="1200" spc="-35" dirty="0">
                <a:solidFill>
                  <a:schemeClr val="accent6">
                    <a:lumMod val="50000"/>
                  </a:schemeClr>
                </a:solidFill>
                <a:latin typeface="Poppins"/>
              </a:rPr>
              <a:t>A graduate of NYU's Stern School of Business,.</a:t>
            </a:r>
            <a:endParaRPr lang="es-CO" b="1" spc="-35" dirty="0">
              <a:solidFill>
                <a:schemeClr val="accent6">
                  <a:lumMod val="50000"/>
                </a:schemeClr>
              </a:solidFill>
              <a:latin typeface="Poppins Bold"/>
            </a:endParaRPr>
          </a:p>
        </p:txBody>
      </p:sp>
      <p:pic>
        <p:nvPicPr>
          <p:cNvPr id="8194" name="Picture 2">
            <a:extLst>
              <a:ext uri="{FF2B5EF4-FFF2-40B4-BE49-F238E27FC236}">
                <a16:creationId xmlns:a16="http://schemas.microsoft.com/office/drawing/2014/main" id="{2D6C9DDF-B59C-9C8D-1CB9-7CED538A35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8300" y="1286167"/>
            <a:ext cx="1267200" cy="12672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28">
            <a:extLst>
              <a:ext uri="{FF2B5EF4-FFF2-40B4-BE49-F238E27FC236}">
                <a16:creationId xmlns:a16="http://schemas.microsoft.com/office/drawing/2014/main" id="{145C025C-1117-3D3B-DA6B-AB9D7F554420}"/>
              </a:ext>
            </a:extLst>
          </p:cNvPr>
          <p:cNvSpPr txBox="1"/>
          <p:nvPr/>
        </p:nvSpPr>
        <p:spPr>
          <a:xfrm>
            <a:off x="6710396" y="2824065"/>
            <a:ext cx="3080658" cy="297517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CO" sz="2400" spc="-45" dirty="0">
                <a:solidFill>
                  <a:srgbClr val="6650B6"/>
                </a:solidFill>
                <a:latin typeface="Poppins Bold"/>
              </a:rPr>
              <a:t>Jordi </a:t>
            </a:r>
            <a:r>
              <a:rPr lang="es-CO" sz="2400" spc="-45" dirty="0" err="1">
                <a:solidFill>
                  <a:srgbClr val="6650B6"/>
                </a:solidFill>
                <a:latin typeface="Poppins Bold"/>
              </a:rPr>
              <a:t>Monso</a:t>
            </a:r>
            <a:endParaRPr lang="es-CO" sz="2400" spc="-45" dirty="0">
              <a:solidFill>
                <a:srgbClr val="6650B6"/>
              </a:solidFill>
              <a:latin typeface="Poppins Bold"/>
            </a:endParaRPr>
          </a:p>
          <a:p>
            <a:pPr algn="ctr"/>
            <a:endParaRPr lang="es-CO" sz="2400" spc="-45" dirty="0">
              <a:solidFill>
                <a:srgbClr val="6650B6"/>
              </a:solidFill>
              <a:latin typeface="Poppins Bold"/>
            </a:endParaRPr>
          </a:p>
          <a:p>
            <a:pPr algn="ctr">
              <a:lnSpc>
                <a:spcPts val="792"/>
              </a:lnSpc>
            </a:pPr>
            <a:r>
              <a:rPr lang="es-CO" sz="1100" spc="-30" dirty="0" err="1">
                <a:solidFill>
                  <a:srgbClr val="6650B6"/>
                </a:solidFill>
                <a:latin typeface="Poppins Bold"/>
              </a:rPr>
              <a:t>Partn</a:t>
            </a:r>
            <a:r>
              <a:rPr lang="en-US" sz="1100" spc="-30" dirty="0">
                <a:solidFill>
                  <a:srgbClr val="6650B6"/>
                </a:solidFill>
                <a:latin typeface="Poppins Bold"/>
              </a:rPr>
              <a:t>er &amp; </a:t>
            </a:r>
            <a:r>
              <a:rPr lang="en-US" sz="1100" spc="-30" dirty="0" err="1">
                <a:solidFill>
                  <a:srgbClr val="6650B6"/>
                </a:solidFill>
                <a:latin typeface="Poppins Bold"/>
              </a:rPr>
              <a:t>Advi</a:t>
            </a:r>
            <a:r>
              <a:rPr lang="es-CO" sz="1100" spc="-30" dirty="0">
                <a:solidFill>
                  <a:srgbClr val="6650B6"/>
                </a:solidFill>
                <a:latin typeface="Poppins Bold"/>
              </a:rPr>
              <a:t>sor at IOTA Impact</a:t>
            </a:r>
          </a:p>
          <a:p>
            <a:pPr algn="ctr">
              <a:lnSpc>
                <a:spcPts val="792"/>
              </a:lnSpc>
            </a:pPr>
            <a:endParaRPr lang="es-CO" sz="1100" spc="-30" dirty="0">
              <a:solidFill>
                <a:srgbClr val="6650B6"/>
              </a:solidFill>
              <a:latin typeface="Poppins Bold"/>
            </a:endParaRPr>
          </a:p>
          <a:p>
            <a:r>
              <a:rPr lang="en-US" sz="1200" spc="-35" dirty="0">
                <a:solidFill>
                  <a:schemeClr val="accent6">
                    <a:lumMod val="50000"/>
                  </a:schemeClr>
                </a:solidFill>
                <a:latin typeface="Poppins"/>
              </a:rPr>
              <a:t>Expert in growth and strategy, with a focus on technology and analytics.</a:t>
            </a:r>
          </a:p>
          <a:p>
            <a:endParaRPr lang="en-US" sz="1200" spc="-35" dirty="0">
              <a:solidFill>
                <a:schemeClr val="accent6">
                  <a:lumMod val="50000"/>
                </a:schemeClr>
              </a:solidFill>
              <a:latin typeface="Poppins"/>
            </a:endParaRPr>
          </a:p>
          <a:p>
            <a:r>
              <a:rPr lang="en-US" sz="1200" spc="-35" dirty="0">
                <a:solidFill>
                  <a:schemeClr val="accent6">
                    <a:lumMod val="50000"/>
                  </a:schemeClr>
                </a:solidFill>
                <a:latin typeface="Poppins"/>
              </a:rPr>
              <a:t>He has over 21 years of experience in consulting, developed at McKinsey &amp; Company (New York), where he served as a partner and conducted due diligences.</a:t>
            </a:r>
          </a:p>
          <a:p>
            <a:endParaRPr lang="en-US" sz="1200" spc="-35" dirty="0">
              <a:solidFill>
                <a:schemeClr val="accent6">
                  <a:lumMod val="50000"/>
                </a:schemeClr>
              </a:solidFill>
              <a:latin typeface="Poppins"/>
            </a:endParaRPr>
          </a:p>
          <a:p>
            <a:r>
              <a:rPr lang="en-US" sz="1200" spc="-35" dirty="0">
                <a:solidFill>
                  <a:schemeClr val="accent6">
                    <a:lumMod val="50000"/>
                  </a:schemeClr>
                </a:solidFill>
                <a:latin typeface="Poppins"/>
              </a:rPr>
              <a:t>Jordi holds an MS from the University of Catalonia and an MBA from New York University.</a:t>
            </a:r>
            <a:endParaRPr lang="es-CO" b="1" spc="-35" dirty="0">
              <a:solidFill>
                <a:schemeClr val="accent6">
                  <a:lumMod val="50000"/>
                </a:schemeClr>
              </a:solidFill>
              <a:latin typeface="Poppins Bold"/>
            </a:endParaRPr>
          </a:p>
        </p:txBody>
      </p:sp>
    </p:spTree>
    <p:extLst>
      <p:ext uri="{BB962C8B-B14F-4D97-AF65-F5344CB8AC3E}">
        <p14:creationId xmlns:p14="http://schemas.microsoft.com/office/powerpoint/2010/main" val="42208683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32">
            <a:extLst>
              <a:ext uri="{FF2B5EF4-FFF2-40B4-BE49-F238E27FC236}">
                <a16:creationId xmlns:a16="http://schemas.microsoft.com/office/drawing/2014/main" id="{360D8FDE-2CF7-CF71-DB77-4A7FEEB1A2BF}"/>
              </a:ext>
            </a:extLst>
          </p:cNvPr>
          <p:cNvCxnSpPr>
            <a:cxnSpLocks/>
          </p:cNvCxnSpPr>
          <p:nvPr/>
        </p:nvCxnSpPr>
        <p:spPr>
          <a:xfrm flipV="1">
            <a:off x="785324" y="909481"/>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Picture 2" descr="Global Property Management Group Odevo Continues U.S. Expansion With ...">
            <a:extLst>
              <a:ext uri="{FF2B5EF4-FFF2-40B4-BE49-F238E27FC236}">
                <a16:creationId xmlns:a16="http://schemas.microsoft.com/office/drawing/2014/main" id="{D76FABA3-4ADD-71FE-8D81-32AF01D7A8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3" name="Título 2">
            <a:extLst>
              <a:ext uri="{FF2B5EF4-FFF2-40B4-BE49-F238E27FC236}">
                <a16:creationId xmlns:a16="http://schemas.microsoft.com/office/drawing/2014/main" id="{78081703-5B2C-4C07-65E8-19B693AE4878}"/>
              </a:ext>
            </a:extLst>
          </p:cNvPr>
          <p:cNvSpPr>
            <a:spLocks noGrp="1"/>
          </p:cNvSpPr>
          <p:nvPr>
            <p:ph type="title"/>
          </p:nvPr>
        </p:nvSpPr>
        <p:spPr/>
        <p:txBody>
          <a:bodyPr/>
          <a:lstStyle/>
          <a:p>
            <a:r>
              <a:rPr lang="es-CO" dirty="0"/>
              <a:t>Project timeline</a:t>
            </a:r>
          </a:p>
        </p:txBody>
      </p:sp>
      <p:graphicFrame>
        <p:nvGraphicFramePr>
          <p:cNvPr id="2" name="Tabla 1">
            <a:extLst>
              <a:ext uri="{FF2B5EF4-FFF2-40B4-BE49-F238E27FC236}">
                <a16:creationId xmlns:a16="http://schemas.microsoft.com/office/drawing/2014/main" id="{EC14C841-CE97-A8BB-7E84-CA004CD1F011}"/>
              </a:ext>
            </a:extLst>
          </p:cNvPr>
          <p:cNvGraphicFramePr>
            <a:graphicFrameLocks noGrp="1"/>
          </p:cNvGraphicFramePr>
          <p:nvPr>
            <p:extLst>
              <p:ext uri="{D42A27DB-BD31-4B8C-83A1-F6EECF244321}">
                <p14:modId xmlns:p14="http://schemas.microsoft.com/office/powerpoint/2010/main" val="2909651531"/>
              </p:ext>
            </p:extLst>
          </p:nvPr>
        </p:nvGraphicFramePr>
        <p:xfrm>
          <a:off x="2248867" y="1526182"/>
          <a:ext cx="8532058" cy="3877140"/>
        </p:xfrm>
        <a:graphic>
          <a:graphicData uri="http://schemas.openxmlformats.org/drawingml/2006/table">
            <a:tbl>
              <a:tblPr/>
              <a:tblGrid>
                <a:gridCol w="2765528">
                  <a:extLst>
                    <a:ext uri="{9D8B030D-6E8A-4147-A177-3AD203B41FA5}">
                      <a16:colId xmlns:a16="http://schemas.microsoft.com/office/drawing/2014/main" val="3925889319"/>
                    </a:ext>
                  </a:extLst>
                </a:gridCol>
                <a:gridCol w="1153306">
                  <a:extLst>
                    <a:ext uri="{9D8B030D-6E8A-4147-A177-3AD203B41FA5}">
                      <a16:colId xmlns:a16="http://schemas.microsoft.com/office/drawing/2014/main" val="985168546"/>
                    </a:ext>
                  </a:extLst>
                </a:gridCol>
                <a:gridCol w="1153306">
                  <a:extLst>
                    <a:ext uri="{9D8B030D-6E8A-4147-A177-3AD203B41FA5}">
                      <a16:colId xmlns:a16="http://schemas.microsoft.com/office/drawing/2014/main" val="3151728528"/>
                    </a:ext>
                  </a:extLst>
                </a:gridCol>
                <a:gridCol w="1153306">
                  <a:extLst>
                    <a:ext uri="{9D8B030D-6E8A-4147-A177-3AD203B41FA5}">
                      <a16:colId xmlns:a16="http://schemas.microsoft.com/office/drawing/2014/main" val="705380858"/>
                    </a:ext>
                  </a:extLst>
                </a:gridCol>
                <a:gridCol w="1153306">
                  <a:extLst>
                    <a:ext uri="{9D8B030D-6E8A-4147-A177-3AD203B41FA5}">
                      <a16:colId xmlns:a16="http://schemas.microsoft.com/office/drawing/2014/main" val="3936752757"/>
                    </a:ext>
                  </a:extLst>
                </a:gridCol>
                <a:gridCol w="1153306">
                  <a:extLst>
                    <a:ext uri="{9D8B030D-6E8A-4147-A177-3AD203B41FA5}">
                      <a16:colId xmlns:a16="http://schemas.microsoft.com/office/drawing/2014/main" val="3739711740"/>
                    </a:ext>
                  </a:extLst>
                </a:gridCol>
              </a:tblGrid>
              <a:tr h="387714">
                <a:tc>
                  <a:txBody>
                    <a:bodyPr/>
                    <a:lstStyle/>
                    <a:p>
                      <a:pPr algn="ctr"/>
                      <a:r>
                        <a:rPr lang="es-CO" sz="1600" b="1" i="0" kern="1200" dirty="0">
                          <a:solidFill>
                            <a:srgbClr val="757095"/>
                          </a:solidFill>
                          <a:effectLst/>
                          <a:highlight>
                            <a:srgbClr val="FFFFFF"/>
                          </a:highlight>
                          <a:latin typeface="Poppins" panose="00000500000000000000" pitchFamily="2" charset="0"/>
                          <a:ea typeface="+mn-ea"/>
                          <a:cs typeface="+mn-cs"/>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US" sz="1100" b="0" i="0" dirty="0">
                          <a:solidFill>
                            <a:srgbClr val="757095"/>
                          </a:solidFill>
                          <a:effectLst/>
                          <a:highlight>
                            <a:srgbClr val="FFFFFF"/>
                          </a:highlight>
                          <a:latin typeface="Poppins" panose="00000500000000000000" pitchFamily="2" charset="0"/>
                        </a:rPr>
                        <a:t>Week 1​</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100" b="0" i="0" dirty="0">
                          <a:solidFill>
                            <a:srgbClr val="757095"/>
                          </a:solidFill>
                          <a:effectLst/>
                          <a:highlight>
                            <a:srgbClr val="FFFFFF"/>
                          </a:highlight>
                          <a:latin typeface="Poppins" panose="00000500000000000000" pitchFamily="2" charset="0"/>
                        </a:rPr>
                        <a:t>Week 2​</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100" b="0" i="0" dirty="0">
                          <a:solidFill>
                            <a:srgbClr val="757095"/>
                          </a:solidFill>
                          <a:effectLst/>
                          <a:highlight>
                            <a:srgbClr val="FFFFFF"/>
                          </a:highlight>
                          <a:latin typeface="Poppins" panose="00000500000000000000" pitchFamily="2" charset="0"/>
                        </a:rPr>
                        <a:t>Week 3​</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100" b="0" i="0" dirty="0">
                          <a:solidFill>
                            <a:srgbClr val="757095"/>
                          </a:solidFill>
                          <a:effectLst/>
                          <a:highlight>
                            <a:srgbClr val="FFFFFF"/>
                          </a:highlight>
                          <a:latin typeface="Poppins" panose="00000500000000000000" pitchFamily="2" charset="0"/>
                        </a:rPr>
                        <a:t>Week 4​</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ase"/>
                      <a:r>
                        <a:rPr lang="en-US" sz="1100" b="0" i="0" dirty="0">
                          <a:solidFill>
                            <a:srgbClr val="757095"/>
                          </a:solidFill>
                          <a:effectLst/>
                          <a:highlight>
                            <a:srgbClr val="FFFFFF"/>
                          </a:highlight>
                          <a:latin typeface="Poppins" panose="00000500000000000000" pitchFamily="2" charset="0"/>
                        </a:rPr>
                        <a:t>Week 5​</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87997470"/>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Kick-off meeting​</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577572721"/>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Secondary research​</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403343301"/>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Internal interviews​*</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257173166"/>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Expert interviews​*</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575614984"/>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Client interviews*</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701645610"/>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Workshops (2)</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250362794"/>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Recommendations and report prep​</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135800860"/>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Hand-off​</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339263919"/>
                  </a:ext>
                </a:extLst>
              </a:tr>
              <a:tr h="387714">
                <a:tc>
                  <a:txBody>
                    <a:bodyPr/>
                    <a:lstStyle/>
                    <a:p>
                      <a:pPr algn="l" fontAlgn="base"/>
                      <a:r>
                        <a:rPr lang="en-US" sz="1100" b="0" i="0" dirty="0">
                          <a:solidFill>
                            <a:srgbClr val="757095"/>
                          </a:solidFill>
                          <a:effectLst/>
                          <a:highlight>
                            <a:srgbClr val="FFFFFF"/>
                          </a:highlight>
                          <a:latin typeface="Poppins" panose="00000500000000000000" pitchFamily="2" charset="0"/>
                        </a:rPr>
                        <a:t>Content review meetings</a:t>
                      </a:r>
                      <a:endParaRPr lang="en-US" sz="1600" b="0" i="0" dirty="0">
                        <a:solidFill>
                          <a:srgbClr val="757095"/>
                        </a:solidFill>
                        <a:effectLst/>
                        <a:highlight>
                          <a:srgbClr val="FFFFFF"/>
                        </a:highlight>
                      </a:endParaRPr>
                    </a:p>
                  </a:txBody>
                  <a:tcPr marL="83680" marR="83680" marT="41840" marB="418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auto"/>
                      <a:r>
                        <a:rPr lang="en-US" sz="1100" b="0" i="0" dirty="0">
                          <a:solidFill>
                            <a:srgbClr val="757095"/>
                          </a:solidFill>
                          <a:effectLst/>
                          <a:highlight>
                            <a:srgbClr val="FFFFFF"/>
                          </a:highlight>
                          <a:latin typeface="Open Sans Light" panose="020B0306030504020204" pitchFamily="34" charset="0"/>
                        </a:rPr>
                        <a:t>​</a:t>
                      </a:r>
                    </a:p>
                  </a:txBody>
                  <a:tcPr marL="83680" marR="83680" marT="41840" marB="418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85926855"/>
                  </a:ext>
                </a:extLst>
              </a:tr>
            </a:tbl>
          </a:graphicData>
        </a:graphic>
      </p:graphicFrame>
      <p:sp>
        <p:nvSpPr>
          <p:cNvPr id="4" name="Rectangle 1">
            <a:extLst>
              <a:ext uri="{FF2B5EF4-FFF2-40B4-BE49-F238E27FC236}">
                <a16:creationId xmlns:a16="http://schemas.microsoft.com/office/drawing/2014/main" id="{ECAE8474-EAA0-CC7E-3C07-9628E4848572}"/>
              </a:ext>
            </a:extLst>
          </p:cNvPr>
          <p:cNvSpPr>
            <a:spLocks noChangeArrowheads="1"/>
          </p:cNvSpPr>
          <p:nvPr/>
        </p:nvSpPr>
        <p:spPr bwMode="auto">
          <a:xfrm>
            <a:off x="2036763" y="1822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s-CO"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s-CO" altLang="es-CO"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CO" altLang="es-CO" sz="1800" b="0" i="0" u="none" strike="noStrike" cap="none" normalizeH="0" baseline="0">
              <a:ln>
                <a:noFill/>
              </a:ln>
              <a:solidFill>
                <a:schemeClr val="tx1"/>
              </a:solidFill>
              <a:effectLst/>
              <a:latin typeface="Arial" panose="020B0604020202020204" pitchFamily="34" charset="0"/>
            </a:endParaRPr>
          </a:p>
        </p:txBody>
      </p:sp>
      <p:sp>
        <p:nvSpPr>
          <p:cNvPr id="18" name="Rectangle: Rounded Corners 17">
            <a:extLst>
              <a:ext uri="{FF2B5EF4-FFF2-40B4-BE49-F238E27FC236}">
                <a16:creationId xmlns:a16="http://schemas.microsoft.com/office/drawing/2014/main" id="{61082C5F-1838-C86C-6948-4374682D3118}"/>
              </a:ext>
            </a:extLst>
          </p:cNvPr>
          <p:cNvSpPr/>
          <p:nvPr/>
        </p:nvSpPr>
        <p:spPr>
          <a:xfrm>
            <a:off x="5425476" y="2393980"/>
            <a:ext cx="1618117" cy="222903"/>
          </a:xfrm>
          <a:prstGeom prst="roundRect">
            <a:avLst>
              <a:gd name="adj" fmla="val 50000"/>
            </a:avLst>
          </a:prstGeom>
          <a:solidFill>
            <a:srgbClr val="8D80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21" name="Rectangle: Rounded Corners 18">
            <a:extLst>
              <a:ext uri="{FF2B5EF4-FFF2-40B4-BE49-F238E27FC236}">
                <a16:creationId xmlns:a16="http://schemas.microsoft.com/office/drawing/2014/main" id="{B32094B8-78D5-769D-FB4E-1F66DEA640B6}"/>
              </a:ext>
            </a:extLst>
          </p:cNvPr>
          <p:cNvSpPr/>
          <p:nvPr/>
        </p:nvSpPr>
        <p:spPr>
          <a:xfrm>
            <a:off x="5045646" y="2010232"/>
            <a:ext cx="1068460" cy="222893"/>
          </a:xfrm>
          <a:prstGeom prst="roundRect">
            <a:avLst>
              <a:gd name="adj" fmla="val 50000"/>
            </a:avLst>
          </a:prstGeom>
          <a:solidFill>
            <a:srgbClr val="FDBC6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22" name="Rectangle: Rounded Corners 17">
            <a:extLst>
              <a:ext uri="{FF2B5EF4-FFF2-40B4-BE49-F238E27FC236}">
                <a16:creationId xmlns:a16="http://schemas.microsoft.com/office/drawing/2014/main" id="{3FF03454-0081-7F73-1D53-3E6164E74DC7}"/>
              </a:ext>
            </a:extLst>
          </p:cNvPr>
          <p:cNvSpPr/>
          <p:nvPr/>
        </p:nvSpPr>
        <p:spPr>
          <a:xfrm>
            <a:off x="5425476" y="2777738"/>
            <a:ext cx="1618117" cy="222903"/>
          </a:xfrm>
          <a:prstGeom prst="roundRect">
            <a:avLst>
              <a:gd name="adj" fmla="val 50000"/>
            </a:avLst>
          </a:prstGeom>
          <a:solidFill>
            <a:srgbClr val="8D80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23" name="Rectangle: Rounded Corners 17">
            <a:extLst>
              <a:ext uri="{FF2B5EF4-FFF2-40B4-BE49-F238E27FC236}">
                <a16:creationId xmlns:a16="http://schemas.microsoft.com/office/drawing/2014/main" id="{284A5CBC-FB3B-FC7D-C249-457FAF54A777}"/>
              </a:ext>
            </a:extLst>
          </p:cNvPr>
          <p:cNvSpPr/>
          <p:nvPr/>
        </p:nvSpPr>
        <p:spPr>
          <a:xfrm>
            <a:off x="5425476" y="3161496"/>
            <a:ext cx="2930873" cy="222903"/>
          </a:xfrm>
          <a:prstGeom prst="roundRect">
            <a:avLst>
              <a:gd name="adj" fmla="val 50000"/>
            </a:avLst>
          </a:prstGeom>
          <a:solidFill>
            <a:srgbClr val="8D80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24" name="Rectangle: Rounded Corners 17">
            <a:extLst>
              <a:ext uri="{FF2B5EF4-FFF2-40B4-BE49-F238E27FC236}">
                <a16:creationId xmlns:a16="http://schemas.microsoft.com/office/drawing/2014/main" id="{0A5D2FD3-F26A-3355-BA48-6FE881E0BC50}"/>
              </a:ext>
            </a:extLst>
          </p:cNvPr>
          <p:cNvSpPr/>
          <p:nvPr/>
        </p:nvSpPr>
        <p:spPr>
          <a:xfrm>
            <a:off x="5425476" y="3554064"/>
            <a:ext cx="2930873" cy="222903"/>
          </a:xfrm>
          <a:prstGeom prst="roundRect">
            <a:avLst>
              <a:gd name="adj" fmla="val 50000"/>
            </a:avLst>
          </a:prstGeom>
          <a:solidFill>
            <a:srgbClr val="8D80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25" name="Rectangle: Rounded Corners 17">
            <a:extLst>
              <a:ext uri="{FF2B5EF4-FFF2-40B4-BE49-F238E27FC236}">
                <a16:creationId xmlns:a16="http://schemas.microsoft.com/office/drawing/2014/main" id="{6C481BB2-7232-8BCF-4EE0-17BA139BC0EA}"/>
              </a:ext>
            </a:extLst>
          </p:cNvPr>
          <p:cNvSpPr/>
          <p:nvPr/>
        </p:nvSpPr>
        <p:spPr>
          <a:xfrm>
            <a:off x="8518614" y="3930715"/>
            <a:ext cx="1729910" cy="222903"/>
          </a:xfrm>
          <a:prstGeom prst="roundRect">
            <a:avLst>
              <a:gd name="adj" fmla="val 50000"/>
            </a:avLst>
          </a:prstGeom>
          <a:solidFill>
            <a:srgbClr val="6200EE"/>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26" name="Rectangle: Rounded Corners 17">
            <a:extLst>
              <a:ext uri="{FF2B5EF4-FFF2-40B4-BE49-F238E27FC236}">
                <a16:creationId xmlns:a16="http://schemas.microsoft.com/office/drawing/2014/main" id="{53F47CD6-E5A9-B88B-67D2-347561431BF9}"/>
              </a:ext>
            </a:extLst>
          </p:cNvPr>
          <p:cNvSpPr/>
          <p:nvPr/>
        </p:nvSpPr>
        <p:spPr>
          <a:xfrm>
            <a:off x="9669098" y="4324711"/>
            <a:ext cx="1023041" cy="222903"/>
          </a:xfrm>
          <a:prstGeom prst="roundRect">
            <a:avLst>
              <a:gd name="adj" fmla="val 50000"/>
            </a:avLst>
          </a:prstGeom>
          <a:solidFill>
            <a:srgbClr val="6200EE"/>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27" name="Rectangle: Rounded Corners 17">
            <a:extLst>
              <a:ext uri="{FF2B5EF4-FFF2-40B4-BE49-F238E27FC236}">
                <a16:creationId xmlns:a16="http://schemas.microsoft.com/office/drawing/2014/main" id="{577C2897-3CC7-C899-9BDD-2D7B401237EB}"/>
              </a:ext>
            </a:extLst>
          </p:cNvPr>
          <p:cNvSpPr/>
          <p:nvPr/>
        </p:nvSpPr>
        <p:spPr>
          <a:xfrm>
            <a:off x="9669098" y="4703506"/>
            <a:ext cx="1023041" cy="222903"/>
          </a:xfrm>
          <a:prstGeom prst="roundRect">
            <a:avLst>
              <a:gd name="adj" fmla="val 50000"/>
            </a:avLst>
          </a:prstGeom>
          <a:solidFill>
            <a:srgbClr val="8D80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30" name="Rectangle: Rounded Corners 16">
            <a:extLst>
              <a:ext uri="{FF2B5EF4-FFF2-40B4-BE49-F238E27FC236}">
                <a16:creationId xmlns:a16="http://schemas.microsoft.com/office/drawing/2014/main" id="{2D9A57D0-F6F0-6A7C-0F73-214CE9E77E1A}"/>
              </a:ext>
            </a:extLst>
          </p:cNvPr>
          <p:cNvSpPr/>
          <p:nvPr/>
        </p:nvSpPr>
        <p:spPr>
          <a:xfrm>
            <a:off x="5461686" y="5115817"/>
            <a:ext cx="216019" cy="216001"/>
          </a:xfrm>
          <a:prstGeom prst="roundRect">
            <a:avLst>
              <a:gd name="adj" fmla="val 50000"/>
            </a:avLst>
          </a:prstGeom>
          <a:solidFill>
            <a:srgbClr val="8F8F8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31" name="Rectangle: Rounded Corners 17">
            <a:extLst>
              <a:ext uri="{FF2B5EF4-FFF2-40B4-BE49-F238E27FC236}">
                <a16:creationId xmlns:a16="http://schemas.microsoft.com/office/drawing/2014/main" id="{DF1914B0-5551-6469-99CC-6B0302B458B4}"/>
              </a:ext>
            </a:extLst>
          </p:cNvPr>
          <p:cNvSpPr/>
          <p:nvPr/>
        </p:nvSpPr>
        <p:spPr>
          <a:xfrm>
            <a:off x="6647583" y="5115816"/>
            <a:ext cx="216019" cy="216001"/>
          </a:xfrm>
          <a:prstGeom prst="roundRect">
            <a:avLst>
              <a:gd name="adj" fmla="val 50000"/>
            </a:avLst>
          </a:prstGeom>
          <a:solidFill>
            <a:srgbClr val="8F8F8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32" name="Rectangle: Rounded Corners 16">
            <a:extLst>
              <a:ext uri="{FF2B5EF4-FFF2-40B4-BE49-F238E27FC236}">
                <a16:creationId xmlns:a16="http://schemas.microsoft.com/office/drawing/2014/main" id="{759AD607-5D06-1EB4-442A-289DB6A7A5A8}"/>
              </a:ext>
            </a:extLst>
          </p:cNvPr>
          <p:cNvSpPr/>
          <p:nvPr/>
        </p:nvSpPr>
        <p:spPr>
          <a:xfrm>
            <a:off x="7838229" y="5115817"/>
            <a:ext cx="216019" cy="216001"/>
          </a:xfrm>
          <a:prstGeom prst="roundRect">
            <a:avLst>
              <a:gd name="adj" fmla="val 50000"/>
            </a:avLst>
          </a:prstGeom>
          <a:solidFill>
            <a:srgbClr val="8F8F8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33" name="Rectangle: Rounded Corners 17">
            <a:extLst>
              <a:ext uri="{FF2B5EF4-FFF2-40B4-BE49-F238E27FC236}">
                <a16:creationId xmlns:a16="http://schemas.microsoft.com/office/drawing/2014/main" id="{77B73006-9785-3521-E388-8618156D4CB3}"/>
              </a:ext>
            </a:extLst>
          </p:cNvPr>
          <p:cNvSpPr/>
          <p:nvPr/>
        </p:nvSpPr>
        <p:spPr>
          <a:xfrm>
            <a:off x="9024126" y="5115816"/>
            <a:ext cx="216019" cy="216001"/>
          </a:xfrm>
          <a:prstGeom prst="roundRect">
            <a:avLst>
              <a:gd name="adj" fmla="val 50000"/>
            </a:avLst>
          </a:prstGeom>
          <a:solidFill>
            <a:srgbClr val="8F8F8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34" name="Rectangle: Rounded Corners 17">
            <a:extLst>
              <a:ext uri="{FF2B5EF4-FFF2-40B4-BE49-F238E27FC236}">
                <a16:creationId xmlns:a16="http://schemas.microsoft.com/office/drawing/2014/main" id="{D3E7CDB0-2F26-F235-BCCF-5D2BBFBEE011}"/>
              </a:ext>
            </a:extLst>
          </p:cNvPr>
          <p:cNvSpPr/>
          <p:nvPr/>
        </p:nvSpPr>
        <p:spPr>
          <a:xfrm>
            <a:off x="10140514" y="5115815"/>
            <a:ext cx="216019" cy="216001"/>
          </a:xfrm>
          <a:prstGeom prst="roundRect">
            <a:avLst>
              <a:gd name="adj" fmla="val 50000"/>
            </a:avLst>
          </a:prstGeom>
          <a:solidFill>
            <a:srgbClr val="8F8F8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Poppins Light"/>
              </a:defRPr>
            </a:lvl1pPr>
            <a:lvl2pPr marL="457200" algn="l" defTabSz="914400" rtl="0" eaLnBrk="1" latinLnBrk="0" hangingPunct="1">
              <a:defRPr sz="1800" kern="1200">
                <a:solidFill>
                  <a:sysClr val="window" lastClr="FFFFFF"/>
                </a:solidFill>
                <a:latin typeface="Poppins Light"/>
              </a:defRPr>
            </a:lvl2pPr>
            <a:lvl3pPr marL="914400" algn="l" defTabSz="914400" rtl="0" eaLnBrk="1" latinLnBrk="0" hangingPunct="1">
              <a:defRPr sz="1800" kern="1200">
                <a:solidFill>
                  <a:sysClr val="window" lastClr="FFFFFF"/>
                </a:solidFill>
                <a:latin typeface="Poppins Light"/>
              </a:defRPr>
            </a:lvl3pPr>
            <a:lvl4pPr marL="1371600" algn="l" defTabSz="914400" rtl="0" eaLnBrk="1" latinLnBrk="0" hangingPunct="1">
              <a:defRPr sz="1800" kern="1200">
                <a:solidFill>
                  <a:sysClr val="window" lastClr="FFFFFF"/>
                </a:solidFill>
                <a:latin typeface="Poppins Light"/>
              </a:defRPr>
            </a:lvl4pPr>
            <a:lvl5pPr marL="1828800" algn="l" defTabSz="914400" rtl="0" eaLnBrk="1" latinLnBrk="0" hangingPunct="1">
              <a:defRPr sz="1800" kern="1200">
                <a:solidFill>
                  <a:sysClr val="window" lastClr="FFFFFF"/>
                </a:solidFill>
                <a:latin typeface="Poppins Light"/>
              </a:defRPr>
            </a:lvl5pPr>
            <a:lvl6pPr marL="2286000" algn="l" defTabSz="914400" rtl="0" eaLnBrk="1" latinLnBrk="0" hangingPunct="1">
              <a:defRPr sz="1800" kern="1200">
                <a:solidFill>
                  <a:sysClr val="window" lastClr="FFFFFF"/>
                </a:solidFill>
                <a:latin typeface="Poppins Light"/>
              </a:defRPr>
            </a:lvl6pPr>
            <a:lvl7pPr marL="2743200" algn="l" defTabSz="914400" rtl="0" eaLnBrk="1" latinLnBrk="0" hangingPunct="1">
              <a:defRPr sz="1800" kern="1200">
                <a:solidFill>
                  <a:sysClr val="window" lastClr="FFFFFF"/>
                </a:solidFill>
                <a:latin typeface="Poppins Light"/>
              </a:defRPr>
            </a:lvl7pPr>
            <a:lvl8pPr marL="3200400" algn="l" defTabSz="914400" rtl="0" eaLnBrk="1" latinLnBrk="0" hangingPunct="1">
              <a:defRPr sz="1800" kern="1200">
                <a:solidFill>
                  <a:sysClr val="window" lastClr="FFFFFF"/>
                </a:solidFill>
                <a:latin typeface="Poppins Light"/>
              </a:defRPr>
            </a:lvl8pPr>
            <a:lvl9pPr marL="3657600" algn="l" defTabSz="914400" rtl="0" eaLnBrk="1" latinLnBrk="0" hangingPunct="1">
              <a:defRPr sz="1800" kern="1200">
                <a:solidFill>
                  <a:sysClr val="window" lastClr="FFFFFF"/>
                </a:solidFill>
                <a:latin typeface="Poppins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ndParaRPr>
          </a:p>
        </p:txBody>
      </p:sp>
      <p:sp>
        <p:nvSpPr>
          <p:cNvPr id="5" name="TextBox 4">
            <a:extLst>
              <a:ext uri="{FF2B5EF4-FFF2-40B4-BE49-F238E27FC236}">
                <a16:creationId xmlns:a16="http://schemas.microsoft.com/office/drawing/2014/main" id="{5225E063-80CB-D425-01CF-A218C81DA4B9}"/>
              </a:ext>
            </a:extLst>
          </p:cNvPr>
          <p:cNvSpPr txBox="1"/>
          <p:nvPr/>
        </p:nvSpPr>
        <p:spPr>
          <a:xfrm>
            <a:off x="2234864" y="5788079"/>
            <a:ext cx="3751348" cy="246221"/>
          </a:xfrm>
          <a:prstGeom prst="rect">
            <a:avLst/>
          </a:prstGeom>
          <a:noFill/>
        </p:spPr>
        <p:txBody>
          <a:bodyPr wrap="none" rtlCol="0">
            <a:spAutoFit/>
          </a:bodyPr>
          <a:lstStyle/>
          <a:p>
            <a:r>
              <a:rPr lang="en-US" sz="1000" b="1" dirty="0">
                <a:solidFill>
                  <a:schemeClr val="tx2"/>
                </a:solidFill>
              </a:rPr>
              <a:t>* TIMELINE COULD BE EXTENDED 1 WEEK DUE TO SCHEDULING</a:t>
            </a:r>
          </a:p>
        </p:txBody>
      </p:sp>
    </p:spTree>
    <p:extLst>
      <p:ext uri="{BB962C8B-B14F-4D97-AF65-F5344CB8AC3E}">
        <p14:creationId xmlns:p14="http://schemas.microsoft.com/office/powerpoint/2010/main" val="17159333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57C38481-9E3F-8544-C195-71389E2A5F9F}"/>
              </a:ext>
            </a:extLst>
          </p:cNvPr>
          <p:cNvSpPr txBox="1">
            <a:spLocks/>
          </p:cNvSpPr>
          <p:nvPr/>
        </p:nvSpPr>
        <p:spPr>
          <a:xfrm>
            <a:off x="3890792" y="1830042"/>
            <a:ext cx="8116138" cy="2742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Context and objectives</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methodology</a:t>
            </a:r>
            <a:endParaRPr kumimoji="0" lang="en-US" sz="1800" b="1" i="0" u="none" strike="noStrike" kern="1200" cap="none" spc="0" normalizeH="0" baseline="0" noProof="0" dirty="0">
              <a:ln>
                <a:noFill/>
              </a:ln>
              <a:solidFill>
                <a:srgbClr val="FFFFFF"/>
              </a:solidFill>
              <a:effectLst/>
              <a:uLnTx/>
              <a:uFillTx/>
              <a:latin typeface="Poppins"/>
              <a:ea typeface="+mj-ea"/>
              <a:cs typeface="Poppins"/>
            </a:endParaRP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Why IOTA Impact</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Team IOTA and timeline</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investment</a:t>
            </a:r>
          </a:p>
        </p:txBody>
      </p:sp>
      <p:sp>
        <p:nvSpPr>
          <p:cNvPr id="3" name="Google Shape;291;p35">
            <a:extLst>
              <a:ext uri="{FF2B5EF4-FFF2-40B4-BE49-F238E27FC236}">
                <a16:creationId xmlns:a16="http://schemas.microsoft.com/office/drawing/2014/main" id="{917EFD4C-E48B-9C02-591A-3C14F07B8CA5}"/>
              </a:ext>
            </a:extLst>
          </p:cNvPr>
          <p:cNvSpPr txBox="1">
            <a:spLocks noGrp="1"/>
          </p:cNvSpPr>
          <p:nvPr/>
        </p:nvSpPr>
        <p:spPr>
          <a:xfrm>
            <a:off x="2905844" y="259489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dirty="0"/>
              <a:t>02</a:t>
            </a:r>
            <a:endParaRPr dirty="0"/>
          </a:p>
        </p:txBody>
      </p:sp>
      <p:sp>
        <p:nvSpPr>
          <p:cNvPr id="5" name="Google Shape;289;p35">
            <a:extLst>
              <a:ext uri="{FF2B5EF4-FFF2-40B4-BE49-F238E27FC236}">
                <a16:creationId xmlns:a16="http://schemas.microsoft.com/office/drawing/2014/main" id="{93E2148B-E1E8-A482-ED26-C3F083DD134F}"/>
              </a:ext>
            </a:extLst>
          </p:cNvPr>
          <p:cNvSpPr txBox="1">
            <a:spLocks noGrp="1"/>
          </p:cNvSpPr>
          <p:nvPr/>
        </p:nvSpPr>
        <p:spPr>
          <a:xfrm>
            <a:off x="2905844" y="217611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1</a:t>
            </a:r>
            <a:endParaRPr/>
          </a:p>
        </p:txBody>
      </p:sp>
      <p:sp>
        <p:nvSpPr>
          <p:cNvPr id="9" name="Google Shape;291;p35">
            <a:extLst>
              <a:ext uri="{FF2B5EF4-FFF2-40B4-BE49-F238E27FC236}">
                <a16:creationId xmlns:a16="http://schemas.microsoft.com/office/drawing/2014/main" id="{F34FEE20-819B-7659-489B-C6CB8FA09970}"/>
              </a:ext>
            </a:extLst>
          </p:cNvPr>
          <p:cNvSpPr txBox="1">
            <a:spLocks noGrp="1"/>
          </p:cNvSpPr>
          <p:nvPr/>
        </p:nvSpPr>
        <p:spPr>
          <a:xfrm>
            <a:off x="2905844" y="301367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3</a:t>
            </a:r>
            <a:endParaRPr/>
          </a:p>
        </p:txBody>
      </p:sp>
      <p:sp>
        <p:nvSpPr>
          <p:cNvPr id="21" name="object 6">
            <a:extLst>
              <a:ext uri="{FF2B5EF4-FFF2-40B4-BE49-F238E27FC236}">
                <a16:creationId xmlns:a16="http://schemas.microsoft.com/office/drawing/2014/main" id="{B08CF098-A2C4-0DAC-DF74-BC0E4E2B6A96}"/>
              </a:ext>
            </a:extLst>
          </p:cNvPr>
          <p:cNvSpPr/>
          <p:nvPr/>
        </p:nvSpPr>
        <p:spPr>
          <a:xfrm rot="5400000">
            <a:off x="1704106" y="731853"/>
            <a:ext cx="1134992" cy="983362"/>
          </a:xfrm>
          <a:custGeom>
            <a:avLst/>
            <a:gdLst/>
            <a:ahLst/>
            <a:cxnLst/>
            <a:rect l="l" t="t" r="r" b="b"/>
            <a:pathLst>
              <a:path w="646429" h="560070">
                <a:moveTo>
                  <a:pt x="323138" y="0"/>
                </a:moveTo>
                <a:lnTo>
                  <a:pt x="0" y="559701"/>
                </a:lnTo>
                <a:lnTo>
                  <a:pt x="164007" y="559701"/>
                </a:lnTo>
                <a:lnTo>
                  <a:pt x="323138" y="284086"/>
                </a:lnTo>
                <a:lnTo>
                  <a:pt x="482269" y="559701"/>
                </a:lnTo>
                <a:lnTo>
                  <a:pt x="646277" y="559701"/>
                </a:lnTo>
                <a:lnTo>
                  <a:pt x="323138" y="0"/>
                </a:lnTo>
                <a:close/>
              </a:path>
            </a:pathLst>
          </a:custGeom>
          <a:solidFill>
            <a:srgbClr val="8D80FF">
              <a:alpha val="20000"/>
            </a:srgbClr>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rial"/>
              <a:cs typeface="Arial"/>
              <a:sym typeface="Arial"/>
            </a:endParaRPr>
          </a:p>
        </p:txBody>
      </p:sp>
      <p:sp>
        <p:nvSpPr>
          <p:cNvPr id="6" name="Título 1">
            <a:extLst>
              <a:ext uri="{FF2B5EF4-FFF2-40B4-BE49-F238E27FC236}">
                <a16:creationId xmlns:a16="http://schemas.microsoft.com/office/drawing/2014/main" id="{A1C91E4D-A927-263A-8677-2AE4226F53B3}"/>
              </a:ext>
            </a:extLst>
          </p:cNvPr>
          <p:cNvSpPr txBox="1">
            <a:spLocks/>
          </p:cNvSpPr>
          <p:nvPr/>
        </p:nvSpPr>
        <p:spPr>
          <a:xfrm>
            <a:off x="618006" y="976028"/>
            <a:ext cx="2145277" cy="471639"/>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3200" b="1" i="0" u="none" strike="noStrike" kern="1200" cap="none" spc="0" normalizeH="0" baseline="0" noProof="0" dirty="0">
                <a:ln>
                  <a:noFill/>
                </a:ln>
                <a:solidFill>
                  <a:srgbClr val="FFFFFF"/>
                </a:solidFill>
                <a:effectLst/>
                <a:uLnTx/>
                <a:uFillTx/>
                <a:latin typeface="Poppins"/>
                <a:ea typeface="+mj-ea"/>
                <a:cs typeface="+mj-cs"/>
              </a:rPr>
              <a:t>Content</a:t>
            </a:r>
          </a:p>
        </p:txBody>
      </p:sp>
      <p:sp>
        <p:nvSpPr>
          <p:cNvPr id="2" name="Google Shape;289;p35">
            <a:extLst>
              <a:ext uri="{FF2B5EF4-FFF2-40B4-BE49-F238E27FC236}">
                <a16:creationId xmlns:a16="http://schemas.microsoft.com/office/drawing/2014/main" id="{410BB48F-3A62-D028-E675-3261523B6CE7}"/>
              </a:ext>
            </a:extLst>
          </p:cNvPr>
          <p:cNvSpPr txBox="1">
            <a:spLocks noGrp="1"/>
          </p:cNvSpPr>
          <p:nvPr/>
        </p:nvSpPr>
        <p:spPr>
          <a:xfrm>
            <a:off x="2905844" y="343245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4</a:t>
            </a:r>
            <a:endParaRPr/>
          </a:p>
        </p:txBody>
      </p:sp>
      <p:sp>
        <p:nvSpPr>
          <p:cNvPr id="7" name="Google Shape;289;p35">
            <a:extLst>
              <a:ext uri="{FF2B5EF4-FFF2-40B4-BE49-F238E27FC236}">
                <a16:creationId xmlns:a16="http://schemas.microsoft.com/office/drawing/2014/main" id="{1CC0F131-0D3E-34F6-B5C4-68CC52DDD248}"/>
              </a:ext>
            </a:extLst>
          </p:cNvPr>
          <p:cNvSpPr txBox="1">
            <a:spLocks noGrp="1"/>
          </p:cNvSpPr>
          <p:nvPr/>
        </p:nvSpPr>
        <p:spPr>
          <a:xfrm>
            <a:off x="2905844" y="3855071"/>
            <a:ext cx="876793" cy="374993"/>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a:t>
            </a:r>
            <a:r>
              <a:rPr lang="en" dirty="0"/>
              <a:t>5</a:t>
            </a:r>
            <a:endParaRPr dirty="0"/>
          </a:p>
        </p:txBody>
      </p:sp>
    </p:spTree>
    <p:extLst>
      <p:ext uri="{BB962C8B-B14F-4D97-AF65-F5344CB8AC3E}">
        <p14:creationId xmlns:p14="http://schemas.microsoft.com/office/powerpoint/2010/main" val="12053543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4">
            <a:extLst>
              <a:ext uri="{FF2B5EF4-FFF2-40B4-BE49-F238E27FC236}">
                <a16:creationId xmlns:a16="http://schemas.microsoft.com/office/drawing/2014/main" id="{3F976C41-F45C-35E0-34B2-28EC8B66F39D}"/>
              </a:ext>
            </a:extLst>
          </p:cNvPr>
          <p:cNvSpPr>
            <a:spLocks noGrp="1"/>
          </p:cNvSpPr>
          <p:nvPr>
            <p:ph type="title" idx="4294967295"/>
          </p:nvPr>
        </p:nvSpPr>
        <p:spPr>
          <a:xfrm>
            <a:off x="1123434" y="127382"/>
            <a:ext cx="10550525" cy="800100"/>
          </a:xfrm>
        </p:spPr>
        <p:txBody>
          <a:bodyPr/>
          <a:lstStyle/>
          <a:p>
            <a:r>
              <a:rPr lang="en-US" b="1" dirty="0">
                <a:solidFill>
                  <a:srgbClr val="40009E"/>
                </a:solidFill>
              </a:rPr>
              <a:t>Investment </a:t>
            </a:r>
            <a:endParaRPr lang="en-US" b="1" dirty="0">
              <a:solidFill>
                <a:srgbClr val="40009E"/>
              </a:solidFill>
              <a:cs typeface="Poppins"/>
            </a:endParaRPr>
          </a:p>
        </p:txBody>
      </p:sp>
      <p:sp>
        <p:nvSpPr>
          <p:cNvPr id="4" name="CuadroTexto 3">
            <a:extLst>
              <a:ext uri="{FF2B5EF4-FFF2-40B4-BE49-F238E27FC236}">
                <a16:creationId xmlns:a16="http://schemas.microsoft.com/office/drawing/2014/main" id="{01510BB5-E454-D370-4D0A-F1CE8D444D9B}"/>
              </a:ext>
            </a:extLst>
          </p:cNvPr>
          <p:cNvSpPr txBox="1"/>
          <p:nvPr/>
        </p:nvSpPr>
        <p:spPr>
          <a:xfrm>
            <a:off x="1892292" y="1764701"/>
            <a:ext cx="14891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82C9B"/>
                </a:solidFill>
                <a:effectLst/>
                <a:uLnTx/>
                <a:uFillTx/>
                <a:latin typeface="Poppins"/>
                <a:ea typeface="+mn-ea"/>
                <a:cs typeface="Poppins"/>
              </a:rPr>
              <a:t>Phase 1:</a:t>
            </a:r>
          </a:p>
        </p:txBody>
      </p:sp>
      <p:sp>
        <p:nvSpPr>
          <p:cNvPr id="6" name="CuadroTexto 5">
            <a:extLst>
              <a:ext uri="{FF2B5EF4-FFF2-40B4-BE49-F238E27FC236}">
                <a16:creationId xmlns:a16="http://schemas.microsoft.com/office/drawing/2014/main" id="{0B2EE191-3928-3A45-F951-8A7157A9A41B}"/>
              </a:ext>
            </a:extLst>
          </p:cNvPr>
          <p:cNvSpPr txBox="1"/>
          <p:nvPr/>
        </p:nvSpPr>
        <p:spPr>
          <a:xfrm>
            <a:off x="1892291" y="2177564"/>
            <a:ext cx="4019859" cy="95410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Poppins"/>
                <a:ea typeface="+mn-ea"/>
                <a:cs typeface="Poppins"/>
              </a:rPr>
              <a:t>Secondary Research</a:t>
            </a:r>
          </a:p>
          <a:p>
            <a:pPr marL="171450" indent="-171450">
              <a:buFont typeface="Arial" panose="020B0604020202020204" pitchFamily="34" charset="0"/>
              <a:buChar char="•"/>
            </a:pPr>
            <a:r>
              <a:rPr lang="en-US" sz="1400" dirty="0">
                <a:solidFill>
                  <a:prstClr val="white">
                    <a:lumMod val="50000"/>
                  </a:prstClr>
                </a:solidFill>
                <a:latin typeface="Poppins"/>
                <a:cs typeface="Poppins"/>
              </a:rPr>
              <a:t>10 internal inter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Poppins"/>
                <a:ea typeface="+mn-ea"/>
                <a:cs typeface="Poppins"/>
              </a:rPr>
              <a:t>25 expert inter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white">
                    <a:lumMod val="50000"/>
                  </a:prstClr>
                </a:solidFill>
                <a:latin typeface="Poppins"/>
                <a:cs typeface="Poppins"/>
              </a:rPr>
              <a:t>50 client interviews</a:t>
            </a:r>
            <a:r>
              <a:rPr kumimoji="0" lang="en-US" sz="1400" b="0" i="0" u="none" strike="noStrike" kern="1200" cap="none" spc="0" normalizeH="0" baseline="0" noProof="0" dirty="0">
                <a:ln>
                  <a:noFill/>
                </a:ln>
                <a:solidFill>
                  <a:prstClr val="white">
                    <a:lumMod val="50000"/>
                  </a:prstClr>
                </a:solidFill>
                <a:effectLst/>
                <a:uLnTx/>
                <a:uFillTx/>
                <a:latin typeface="Poppins"/>
                <a:ea typeface="+mn-ea"/>
                <a:cs typeface="Poppins"/>
              </a:rPr>
              <a:t> </a:t>
            </a:r>
          </a:p>
        </p:txBody>
      </p:sp>
      <p:sp>
        <p:nvSpPr>
          <p:cNvPr id="8" name="CuadroTexto 7">
            <a:extLst>
              <a:ext uri="{FF2B5EF4-FFF2-40B4-BE49-F238E27FC236}">
                <a16:creationId xmlns:a16="http://schemas.microsoft.com/office/drawing/2014/main" id="{2B273AD5-F717-8FC7-9864-87994EE0A792}"/>
              </a:ext>
            </a:extLst>
          </p:cNvPr>
          <p:cNvSpPr txBox="1"/>
          <p:nvPr/>
        </p:nvSpPr>
        <p:spPr>
          <a:xfrm>
            <a:off x="1892291" y="3559542"/>
            <a:ext cx="158569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82C9B"/>
                </a:solidFill>
                <a:effectLst/>
                <a:uLnTx/>
                <a:uFillTx/>
                <a:latin typeface="Poppins"/>
                <a:ea typeface="+mn-ea"/>
                <a:cs typeface="Poppins"/>
              </a:rPr>
              <a:t>Phase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lumMod val="50000"/>
                  </a:prstClr>
                </a:solidFill>
                <a:effectLst/>
                <a:uLnTx/>
                <a:uFillTx/>
                <a:latin typeface="Poppins"/>
                <a:ea typeface="+mn-ea"/>
                <a:cs typeface="Poppins"/>
              </a:rPr>
              <a:t>2 workshops</a:t>
            </a:r>
          </a:p>
        </p:txBody>
      </p:sp>
      <p:sp>
        <p:nvSpPr>
          <p:cNvPr id="11" name="Rectángulo 10">
            <a:extLst>
              <a:ext uri="{FF2B5EF4-FFF2-40B4-BE49-F238E27FC236}">
                <a16:creationId xmlns:a16="http://schemas.microsoft.com/office/drawing/2014/main" id="{01BB20F4-C792-6F3C-3FFA-633AA6BB5C33}"/>
              </a:ext>
            </a:extLst>
          </p:cNvPr>
          <p:cNvSpPr/>
          <p:nvPr/>
        </p:nvSpPr>
        <p:spPr>
          <a:xfrm>
            <a:off x="688521" y="5657749"/>
            <a:ext cx="11503479" cy="1200251"/>
          </a:xfrm>
          <a:prstGeom prst="rect">
            <a:avLst/>
          </a:prstGeom>
          <a:solidFill>
            <a:srgbClr val="8D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2" name="CuadroTexto 11">
            <a:extLst>
              <a:ext uri="{FF2B5EF4-FFF2-40B4-BE49-F238E27FC236}">
                <a16:creationId xmlns:a16="http://schemas.microsoft.com/office/drawing/2014/main" id="{96142738-2233-6F2F-FC58-B8AD9B3E2893}"/>
              </a:ext>
            </a:extLst>
          </p:cNvPr>
          <p:cNvSpPr txBox="1"/>
          <p:nvPr/>
        </p:nvSpPr>
        <p:spPr>
          <a:xfrm>
            <a:off x="1123434" y="5980515"/>
            <a:ext cx="10988539" cy="830997"/>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Poppins"/>
                <a:ea typeface="+mn-ea"/>
                <a:cs typeface="Poppins"/>
              </a:rPr>
              <a:t>Prices do not include V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Poppins"/>
                <a:cs typeface="Poppins"/>
              </a:rPr>
              <a:t>Prices includes expert and customer incentives and the purchase of reports or databases</a:t>
            </a:r>
            <a:endParaRPr kumimoji="0" lang="en-US" sz="1200" b="0" i="0" u="none" strike="noStrike" kern="1200" cap="none" spc="0" normalizeH="0" baseline="0" noProof="0" dirty="0">
              <a:ln>
                <a:noFill/>
              </a:ln>
              <a:solidFill>
                <a:prstClr val="white"/>
              </a:solidFill>
              <a:effectLst/>
              <a:uLnTx/>
              <a:uFillTx/>
              <a:latin typeface="Poppins"/>
              <a:ea typeface="+mn-ea"/>
              <a:cs typeface="Poppin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Poppins"/>
                <a:ea typeface="+mn-ea"/>
                <a:cs typeface="Poppins"/>
              </a:rPr>
              <a:t>Unplanned schedule delays of more than one week by </a:t>
            </a:r>
            <a:r>
              <a:rPr kumimoji="0" lang="en-US" sz="1200" b="0" i="0" u="none" strike="noStrike" kern="1200" cap="none" spc="0" normalizeH="0" baseline="0" noProof="0" dirty="0" err="1">
                <a:ln>
                  <a:noFill/>
                </a:ln>
                <a:solidFill>
                  <a:prstClr val="white"/>
                </a:solidFill>
                <a:effectLst/>
                <a:uLnTx/>
                <a:uFillTx/>
                <a:latin typeface="Poppins"/>
                <a:ea typeface="+mn-ea"/>
                <a:cs typeface="Poppins"/>
              </a:rPr>
              <a:t>Odevo</a:t>
            </a:r>
            <a:r>
              <a:rPr kumimoji="0" lang="en-US" sz="1200" b="0" i="0" u="none" strike="noStrike" kern="1200" cap="none" spc="0" normalizeH="0" baseline="0" noProof="0" dirty="0">
                <a:ln>
                  <a:noFill/>
                </a:ln>
                <a:solidFill>
                  <a:prstClr val="white"/>
                </a:solidFill>
                <a:effectLst/>
                <a:uLnTx/>
                <a:uFillTx/>
                <a:latin typeface="Poppins"/>
                <a:ea typeface="+mn-ea"/>
                <a:cs typeface="Poppins"/>
              </a:rPr>
              <a:t> will cost an additional $10K per wee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Poppins"/>
                <a:ea typeface="+mn-ea"/>
                <a:cs typeface="Poppins"/>
              </a:rPr>
              <a:t>Proposal valid until July 25, 2024.</a:t>
            </a:r>
            <a:endParaRPr kumimoji="0" lang="en-US" sz="12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3" name="CuadroTexto 12">
            <a:extLst>
              <a:ext uri="{FF2B5EF4-FFF2-40B4-BE49-F238E27FC236}">
                <a16:creationId xmlns:a16="http://schemas.microsoft.com/office/drawing/2014/main" id="{F339CAA0-54A4-2EF3-513F-A705D9A68DB7}"/>
              </a:ext>
            </a:extLst>
          </p:cNvPr>
          <p:cNvSpPr txBox="1"/>
          <p:nvPr/>
        </p:nvSpPr>
        <p:spPr>
          <a:xfrm>
            <a:off x="1158626" y="5754289"/>
            <a:ext cx="23746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a:ea typeface="+mn-ea"/>
                <a:cs typeface="Poppins"/>
              </a:rPr>
              <a:t>Considerations</a:t>
            </a:r>
          </a:p>
        </p:txBody>
      </p:sp>
      <p:sp>
        <p:nvSpPr>
          <p:cNvPr id="24" name="CuadroTexto 23">
            <a:extLst>
              <a:ext uri="{FF2B5EF4-FFF2-40B4-BE49-F238E27FC236}">
                <a16:creationId xmlns:a16="http://schemas.microsoft.com/office/drawing/2014/main" id="{751161CB-D518-BECC-B8D4-D306FED05B22}"/>
              </a:ext>
            </a:extLst>
          </p:cNvPr>
          <p:cNvSpPr txBox="1"/>
          <p:nvPr/>
        </p:nvSpPr>
        <p:spPr>
          <a:xfrm>
            <a:off x="6882396" y="2325102"/>
            <a:ext cx="123783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white">
                    <a:lumMod val="50000"/>
                  </a:prstClr>
                </a:solidFill>
                <a:latin typeface="Poppins"/>
                <a:cs typeface="Poppins"/>
              </a:rPr>
              <a:t>3-4</a:t>
            </a:r>
            <a:r>
              <a:rPr kumimoji="0" lang="en-US" sz="1600" b="0" i="0" u="none" strike="noStrike" kern="1200" cap="none" spc="0" normalizeH="0" baseline="0" noProof="0" dirty="0">
                <a:ln>
                  <a:noFill/>
                </a:ln>
                <a:solidFill>
                  <a:prstClr val="white">
                    <a:lumMod val="50000"/>
                  </a:prstClr>
                </a:solidFill>
                <a:effectLst/>
                <a:uLnTx/>
                <a:uFillTx/>
                <a:latin typeface="Poppins"/>
                <a:ea typeface="+mn-ea"/>
                <a:cs typeface="Poppins"/>
              </a:rPr>
              <a:t> weeks</a:t>
            </a:r>
          </a:p>
        </p:txBody>
      </p:sp>
      <p:pic>
        <p:nvPicPr>
          <p:cNvPr id="34" name="Imagen 33">
            <a:extLst>
              <a:ext uri="{FF2B5EF4-FFF2-40B4-BE49-F238E27FC236}">
                <a16:creationId xmlns:a16="http://schemas.microsoft.com/office/drawing/2014/main" id="{9DB14CA2-7157-2C7B-48EA-AFDB846F790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5398" y="2331036"/>
            <a:ext cx="468405" cy="482124"/>
          </a:xfrm>
          <a:prstGeom prst="rect">
            <a:avLst/>
          </a:prstGeom>
        </p:spPr>
      </p:pic>
      <p:pic>
        <p:nvPicPr>
          <p:cNvPr id="38" name="Imagen 37">
            <a:extLst>
              <a:ext uri="{FF2B5EF4-FFF2-40B4-BE49-F238E27FC236}">
                <a16:creationId xmlns:a16="http://schemas.microsoft.com/office/drawing/2014/main" id="{F3E02096-2557-8CD9-E5A9-0840800433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3434" y="3567793"/>
            <a:ext cx="429790" cy="667341"/>
          </a:xfrm>
          <a:prstGeom prst="rect">
            <a:avLst/>
          </a:prstGeom>
        </p:spPr>
      </p:pic>
      <p:sp>
        <p:nvSpPr>
          <p:cNvPr id="14" name="Rectángulo 13">
            <a:extLst>
              <a:ext uri="{FF2B5EF4-FFF2-40B4-BE49-F238E27FC236}">
                <a16:creationId xmlns:a16="http://schemas.microsoft.com/office/drawing/2014/main" id="{03EDF10B-AAB1-E998-F0E6-317138202232}"/>
              </a:ext>
            </a:extLst>
          </p:cNvPr>
          <p:cNvSpPr/>
          <p:nvPr/>
        </p:nvSpPr>
        <p:spPr>
          <a:xfrm>
            <a:off x="1700286" y="2075196"/>
            <a:ext cx="68384" cy="1038407"/>
          </a:xfrm>
          <a:prstGeom prst="rect">
            <a:avLst/>
          </a:prstGeom>
          <a:solidFill>
            <a:srgbClr val="482C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6" name="Rectángulo 15">
            <a:extLst>
              <a:ext uri="{FF2B5EF4-FFF2-40B4-BE49-F238E27FC236}">
                <a16:creationId xmlns:a16="http://schemas.microsoft.com/office/drawing/2014/main" id="{EB62B763-0128-A35A-7891-3E86712C257B}"/>
              </a:ext>
            </a:extLst>
          </p:cNvPr>
          <p:cNvSpPr/>
          <p:nvPr/>
        </p:nvSpPr>
        <p:spPr>
          <a:xfrm>
            <a:off x="1700286" y="3578932"/>
            <a:ext cx="68384" cy="586153"/>
          </a:xfrm>
          <a:prstGeom prst="rect">
            <a:avLst/>
          </a:prstGeom>
          <a:solidFill>
            <a:srgbClr val="482C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cxnSp>
        <p:nvCxnSpPr>
          <p:cNvPr id="22" name="Conector recto 21">
            <a:extLst>
              <a:ext uri="{FF2B5EF4-FFF2-40B4-BE49-F238E27FC236}">
                <a16:creationId xmlns:a16="http://schemas.microsoft.com/office/drawing/2014/main" id="{39D1A8DA-5327-DD62-7CD6-B52E9F25FD2D}"/>
              </a:ext>
            </a:extLst>
          </p:cNvPr>
          <p:cNvCxnSpPr>
            <a:cxnSpLocks/>
          </p:cNvCxnSpPr>
          <p:nvPr/>
        </p:nvCxnSpPr>
        <p:spPr>
          <a:xfrm>
            <a:off x="1631065" y="3389492"/>
            <a:ext cx="102222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74345C38-0BBF-8D5D-1F09-CC395F06412B}"/>
              </a:ext>
            </a:extLst>
          </p:cNvPr>
          <p:cNvCxnSpPr/>
          <p:nvPr/>
        </p:nvCxnSpPr>
        <p:spPr>
          <a:xfrm>
            <a:off x="6085114" y="1655878"/>
            <a:ext cx="0" cy="3645407"/>
          </a:xfrm>
          <a:prstGeom prst="line">
            <a:avLst/>
          </a:prstGeom>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C0A100D2-D478-D73E-DA61-A8B8A5767BA0}"/>
              </a:ext>
            </a:extLst>
          </p:cNvPr>
          <p:cNvSpPr txBox="1"/>
          <p:nvPr/>
        </p:nvSpPr>
        <p:spPr>
          <a:xfrm>
            <a:off x="2481943" y="1208312"/>
            <a:ext cx="9124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82C9B"/>
                </a:solidFill>
                <a:effectLst/>
                <a:uLnTx/>
                <a:uFillTx/>
                <a:latin typeface="Poppins"/>
                <a:ea typeface="+mn-ea"/>
                <a:cs typeface="Poppins"/>
              </a:rPr>
              <a:t>Phase</a:t>
            </a:r>
          </a:p>
        </p:txBody>
      </p:sp>
      <p:sp>
        <p:nvSpPr>
          <p:cNvPr id="28" name="CuadroTexto 27">
            <a:extLst>
              <a:ext uri="{FF2B5EF4-FFF2-40B4-BE49-F238E27FC236}">
                <a16:creationId xmlns:a16="http://schemas.microsoft.com/office/drawing/2014/main" id="{432FC0C1-FE7F-8247-AA7B-3CB596120DC3}"/>
              </a:ext>
            </a:extLst>
          </p:cNvPr>
          <p:cNvSpPr txBox="1"/>
          <p:nvPr/>
        </p:nvSpPr>
        <p:spPr>
          <a:xfrm>
            <a:off x="6755002" y="1208312"/>
            <a:ext cx="12282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82C9B"/>
                </a:solidFill>
                <a:effectLst/>
                <a:uLnTx/>
                <a:uFillTx/>
                <a:latin typeface="Poppins"/>
                <a:ea typeface="+mn-ea"/>
                <a:cs typeface="Poppins"/>
              </a:rPr>
              <a:t>Duration</a:t>
            </a:r>
          </a:p>
        </p:txBody>
      </p:sp>
      <p:sp>
        <p:nvSpPr>
          <p:cNvPr id="29" name="CuadroTexto 28">
            <a:extLst>
              <a:ext uri="{FF2B5EF4-FFF2-40B4-BE49-F238E27FC236}">
                <a16:creationId xmlns:a16="http://schemas.microsoft.com/office/drawing/2014/main" id="{AECED97E-2E63-D19B-A705-90A7FDC9E1CD}"/>
              </a:ext>
            </a:extLst>
          </p:cNvPr>
          <p:cNvSpPr txBox="1"/>
          <p:nvPr/>
        </p:nvSpPr>
        <p:spPr>
          <a:xfrm>
            <a:off x="9314328" y="1208312"/>
            <a:ext cx="2279791" cy="369332"/>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82C9B"/>
                </a:solidFill>
                <a:effectLst/>
                <a:uLnTx/>
                <a:uFillTx/>
                <a:latin typeface="Poppins"/>
                <a:ea typeface="+mn-ea"/>
                <a:cs typeface="Poppins"/>
              </a:rPr>
              <a:t>Investment (US$)</a:t>
            </a:r>
          </a:p>
        </p:txBody>
      </p:sp>
      <p:cxnSp>
        <p:nvCxnSpPr>
          <p:cNvPr id="30" name="Conector recto 29">
            <a:extLst>
              <a:ext uri="{FF2B5EF4-FFF2-40B4-BE49-F238E27FC236}">
                <a16:creationId xmlns:a16="http://schemas.microsoft.com/office/drawing/2014/main" id="{63B293DB-1D1D-B62E-7C51-42B93FE8725E}"/>
              </a:ext>
            </a:extLst>
          </p:cNvPr>
          <p:cNvCxnSpPr>
            <a:cxnSpLocks/>
          </p:cNvCxnSpPr>
          <p:nvPr/>
        </p:nvCxnSpPr>
        <p:spPr>
          <a:xfrm>
            <a:off x="8882741" y="1676035"/>
            <a:ext cx="0" cy="3645407"/>
          </a:xfrm>
          <a:prstGeom prst="line">
            <a:avLst/>
          </a:prstGeom>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C40E08FD-3DB7-F117-F7E9-2C57D0A16F64}"/>
              </a:ext>
            </a:extLst>
          </p:cNvPr>
          <p:cNvSpPr txBox="1"/>
          <p:nvPr/>
        </p:nvSpPr>
        <p:spPr>
          <a:xfrm>
            <a:off x="6872021" y="3762129"/>
            <a:ext cx="9925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white">
                    <a:lumMod val="50000"/>
                  </a:prstClr>
                </a:solidFill>
                <a:latin typeface="Poppins"/>
                <a:cs typeface="Poppins"/>
              </a:rPr>
              <a:t>2</a:t>
            </a:r>
            <a:r>
              <a:rPr kumimoji="0" lang="en-US" sz="1600" b="0" i="0" u="none" strike="noStrike" kern="1200" cap="none" spc="0" normalizeH="0" baseline="0" noProof="0" dirty="0">
                <a:ln>
                  <a:noFill/>
                </a:ln>
                <a:solidFill>
                  <a:prstClr val="white">
                    <a:lumMod val="50000"/>
                  </a:prstClr>
                </a:solidFill>
                <a:effectLst/>
                <a:uLnTx/>
                <a:uFillTx/>
                <a:latin typeface="Poppins"/>
                <a:ea typeface="+mn-ea"/>
                <a:cs typeface="Poppins"/>
              </a:rPr>
              <a:t> weeks</a:t>
            </a:r>
          </a:p>
        </p:txBody>
      </p:sp>
      <p:sp>
        <p:nvSpPr>
          <p:cNvPr id="39" name="CuadroTexto 38">
            <a:extLst>
              <a:ext uri="{FF2B5EF4-FFF2-40B4-BE49-F238E27FC236}">
                <a16:creationId xmlns:a16="http://schemas.microsoft.com/office/drawing/2014/main" id="{27580519-0720-A62D-1356-89E515997427}"/>
              </a:ext>
            </a:extLst>
          </p:cNvPr>
          <p:cNvSpPr txBox="1"/>
          <p:nvPr/>
        </p:nvSpPr>
        <p:spPr>
          <a:xfrm>
            <a:off x="9934691" y="2201277"/>
            <a:ext cx="20287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Poppins"/>
                <a:ea typeface="+mn-ea"/>
                <a:cs typeface="Poppins"/>
              </a:rPr>
              <a:t>$ 90,000</a:t>
            </a:r>
          </a:p>
        </p:txBody>
      </p:sp>
      <p:sp>
        <p:nvSpPr>
          <p:cNvPr id="41" name="CuadroTexto 40">
            <a:extLst>
              <a:ext uri="{FF2B5EF4-FFF2-40B4-BE49-F238E27FC236}">
                <a16:creationId xmlns:a16="http://schemas.microsoft.com/office/drawing/2014/main" id="{57B6D087-EC57-9F4D-1405-734A7A8B067E}"/>
              </a:ext>
            </a:extLst>
          </p:cNvPr>
          <p:cNvSpPr txBox="1"/>
          <p:nvPr/>
        </p:nvSpPr>
        <p:spPr>
          <a:xfrm>
            <a:off x="9934690" y="3750994"/>
            <a:ext cx="98616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Poppins"/>
                <a:ea typeface="+mn-ea"/>
                <a:cs typeface="Poppins"/>
              </a:rPr>
              <a:t>$ 15,000</a:t>
            </a:r>
          </a:p>
        </p:txBody>
      </p:sp>
      <p:sp>
        <p:nvSpPr>
          <p:cNvPr id="2" name="CuadroTexto 1">
            <a:extLst>
              <a:ext uri="{FF2B5EF4-FFF2-40B4-BE49-F238E27FC236}">
                <a16:creationId xmlns:a16="http://schemas.microsoft.com/office/drawing/2014/main" id="{C80F7134-514C-90D9-0428-D1EC6A70C172}"/>
              </a:ext>
            </a:extLst>
          </p:cNvPr>
          <p:cNvSpPr txBox="1"/>
          <p:nvPr/>
        </p:nvSpPr>
        <p:spPr>
          <a:xfrm>
            <a:off x="2048321" y="4724794"/>
            <a:ext cx="19855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82C9B"/>
                </a:solidFill>
                <a:effectLst/>
                <a:uLnTx/>
                <a:uFillTx/>
                <a:latin typeface="Poppins"/>
                <a:ea typeface="+mn-ea"/>
                <a:cs typeface="Poppins"/>
              </a:rPr>
              <a:t>TOTAL COST</a:t>
            </a:r>
          </a:p>
        </p:txBody>
      </p:sp>
      <p:pic>
        <p:nvPicPr>
          <p:cNvPr id="5" name="Imagen 4">
            <a:extLst>
              <a:ext uri="{FF2B5EF4-FFF2-40B4-BE49-F238E27FC236}">
                <a16:creationId xmlns:a16="http://schemas.microsoft.com/office/drawing/2014/main" id="{36955BBF-6A9E-8C14-82BF-E9693A5EC6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3434" y="4587473"/>
            <a:ext cx="382500" cy="667340"/>
          </a:xfrm>
          <a:prstGeom prst="rect">
            <a:avLst/>
          </a:prstGeom>
        </p:spPr>
      </p:pic>
      <p:sp>
        <p:nvSpPr>
          <p:cNvPr id="9" name="Rectángulo 8">
            <a:extLst>
              <a:ext uri="{FF2B5EF4-FFF2-40B4-BE49-F238E27FC236}">
                <a16:creationId xmlns:a16="http://schemas.microsoft.com/office/drawing/2014/main" id="{EF554522-F18E-A4F9-DA1E-25F6D8168DB5}"/>
              </a:ext>
            </a:extLst>
          </p:cNvPr>
          <p:cNvSpPr/>
          <p:nvPr/>
        </p:nvSpPr>
        <p:spPr>
          <a:xfrm>
            <a:off x="1700286" y="4616384"/>
            <a:ext cx="68384" cy="586153"/>
          </a:xfrm>
          <a:prstGeom prst="rect">
            <a:avLst/>
          </a:prstGeom>
          <a:solidFill>
            <a:srgbClr val="482C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cxnSp>
        <p:nvCxnSpPr>
          <p:cNvPr id="10" name="Conector recto 9">
            <a:extLst>
              <a:ext uri="{FF2B5EF4-FFF2-40B4-BE49-F238E27FC236}">
                <a16:creationId xmlns:a16="http://schemas.microsoft.com/office/drawing/2014/main" id="{E93E769F-629D-2339-D7A0-B9999CF309BD}"/>
              </a:ext>
            </a:extLst>
          </p:cNvPr>
          <p:cNvCxnSpPr>
            <a:cxnSpLocks/>
          </p:cNvCxnSpPr>
          <p:nvPr/>
        </p:nvCxnSpPr>
        <p:spPr>
          <a:xfrm>
            <a:off x="1641950" y="4464065"/>
            <a:ext cx="10228317"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CuadroTexto 16">
            <a:extLst>
              <a:ext uri="{FF2B5EF4-FFF2-40B4-BE49-F238E27FC236}">
                <a16:creationId xmlns:a16="http://schemas.microsoft.com/office/drawing/2014/main" id="{1FF9E150-140B-67AB-3A5D-A4AD4C773FCF}"/>
              </a:ext>
            </a:extLst>
          </p:cNvPr>
          <p:cNvSpPr txBox="1"/>
          <p:nvPr/>
        </p:nvSpPr>
        <p:spPr>
          <a:xfrm>
            <a:off x="9896724" y="4867002"/>
            <a:ext cx="11208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50000"/>
                  </a:prstClr>
                </a:solidFill>
                <a:effectLst/>
                <a:uLnTx/>
                <a:uFillTx/>
                <a:latin typeface="Poppins"/>
                <a:ea typeface="+mn-ea"/>
                <a:cs typeface="Poppins"/>
              </a:rPr>
              <a:t>$105,000</a:t>
            </a:r>
          </a:p>
        </p:txBody>
      </p:sp>
      <p:pic>
        <p:nvPicPr>
          <p:cNvPr id="7" name="Picture 2" descr="Global Property Management Group Odevo Continues U.S. Expansion With ...">
            <a:extLst>
              <a:ext uri="{FF2B5EF4-FFF2-40B4-BE49-F238E27FC236}">
                <a16:creationId xmlns:a16="http://schemas.microsoft.com/office/drawing/2014/main" id="{A3668D62-D5AC-D832-6A7F-1E9C57CC62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328" y="385177"/>
            <a:ext cx="612559" cy="32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6829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p:nvPr/>
        </p:nvSpPr>
        <p:spPr>
          <a:xfrm>
            <a:off x="-1440870" y="5115835"/>
            <a:ext cx="3415140" cy="3415140"/>
          </a:xfrm>
          <a:custGeom>
            <a:avLst/>
            <a:gdLst/>
            <a:ahLst/>
            <a:cxnLst/>
            <a:rect l="l" t="t" r="r" b="b"/>
            <a:pathLst>
              <a:path w="5122710" h="5122710">
                <a:moveTo>
                  <a:pt x="0" y="0"/>
                </a:moveTo>
                <a:lnTo>
                  <a:pt x="5122710" y="0"/>
                </a:lnTo>
                <a:lnTo>
                  <a:pt x="5122710" y="5122710"/>
                </a:lnTo>
                <a:lnTo>
                  <a:pt x="0" y="512271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13" name="TextBox 13"/>
          <p:cNvSpPr txBox="1"/>
          <p:nvPr/>
        </p:nvSpPr>
        <p:spPr>
          <a:xfrm>
            <a:off x="5390031" y="553736"/>
            <a:ext cx="6184490" cy="3200876"/>
          </a:xfrm>
          <a:prstGeom prst="rect">
            <a:avLst/>
          </a:prstGeom>
        </p:spPr>
        <p:txBody>
          <a:bodyPr wrap="square" lIns="0" tIns="0" rIns="0" bIns="0" rtlCol="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24" normalizeH="0" baseline="0" noProof="0" dirty="0" err="1">
                <a:ln>
                  <a:noFill/>
                </a:ln>
                <a:solidFill>
                  <a:srgbClr val="54585D"/>
                </a:solidFill>
                <a:effectLst/>
                <a:uLnTx/>
                <a:uFillTx/>
                <a:latin typeface="Poppins"/>
                <a:ea typeface="+mn-ea"/>
                <a:cs typeface="+mn-cs"/>
              </a:rPr>
              <a:t>Odevo</a:t>
            </a:r>
            <a:r>
              <a:rPr kumimoji="0" lang="en-US" sz="1600" b="0" i="0" u="none" strike="noStrike" kern="1200" cap="none" spc="-24" normalizeH="0" baseline="0" noProof="0" dirty="0">
                <a:ln>
                  <a:noFill/>
                </a:ln>
                <a:solidFill>
                  <a:srgbClr val="54585D"/>
                </a:solidFill>
                <a:effectLst/>
                <a:uLnTx/>
                <a:uFillTx/>
                <a:latin typeface="Poppins"/>
                <a:ea typeface="+mn-ea"/>
                <a:cs typeface="+mn-cs"/>
              </a:rPr>
              <a:t> - a leader in residential property management services - is seeking a </a:t>
            </a:r>
            <a:r>
              <a:rPr kumimoji="0" lang="en-US" sz="1600" b="1" i="0" u="none" strike="noStrike" kern="1200" cap="none" spc="-24" normalizeH="0" baseline="0" noProof="0" dirty="0">
                <a:ln>
                  <a:noFill/>
                </a:ln>
                <a:solidFill>
                  <a:srgbClr val="54585D"/>
                </a:solidFill>
                <a:effectLst/>
                <a:uLnTx/>
                <a:uFillTx/>
                <a:latin typeface="Poppins"/>
                <a:ea typeface="+mn-ea"/>
                <a:cs typeface="+mn-cs"/>
              </a:rPr>
              <a:t>comprehensive understanding </a:t>
            </a:r>
            <a:r>
              <a:rPr kumimoji="0" lang="en-US" sz="1600" b="0" i="0" u="none" strike="noStrike" kern="1200" cap="none" spc="-24" normalizeH="0" baseline="0" noProof="0" dirty="0">
                <a:ln>
                  <a:noFill/>
                </a:ln>
                <a:solidFill>
                  <a:srgbClr val="54585D"/>
                </a:solidFill>
                <a:effectLst/>
                <a:uLnTx/>
                <a:uFillTx/>
                <a:latin typeface="Poppins"/>
                <a:ea typeface="+mn-ea"/>
                <a:cs typeface="+mn-cs"/>
              </a:rPr>
              <a:t>of the market size, client base, and competitive landscape to guide an evaluation of a potential </a:t>
            </a:r>
            <a:r>
              <a:rPr kumimoji="0" lang="en-US" sz="1600" b="1" i="0" u="none" strike="noStrike" kern="1200" cap="none" spc="-24" normalizeH="0" baseline="0" noProof="0" dirty="0">
                <a:ln>
                  <a:noFill/>
                </a:ln>
                <a:solidFill>
                  <a:srgbClr val="54585D"/>
                </a:solidFill>
                <a:effectLst/>
                <a:uLnTx/>
                <a:uFillTx/>
                <a:latin typeface="Poppins"/>
                <a:ea typeface="+mn-ea"/>
                <a:cs typeface="+mn-cs"/>
              </a:rPr>
              <a:t>strategic acquisition.</a:t>
            </a:r>
          </a:p>
          <a:p>
            <a:pPr marL="0" marR="0" lvl="0" indent="0" algn="l" defTabSz="914400" rtl="0" eaLnBrk="1" fontAlgn="auto" latinLnBrk="0" hangingPunct="1">
              <a:spcBef>
                <a:spcPts val="0"/>
              </a:spcBef>
              <a:spcAft>
                <a:spcPts val="0"/>
              </a:spcAft>
              <a:buClrTx/>
              <a:buSzTx/>
              <a:buFontTx/>
              <a:buNone/>
              <a:tabLst/>
              <a:defRPr/>
            </a:pPr>
            <a:endParaRPr lang="en-US" sz="1600" spc="-24" dirty="0">
              <a:solidFill>
                <a:srgbClr val="54585D"/>
              </a:solidFill>
              <a:latin typeface="Poppins"/>
            </a:endParaRPr>
          </a:p>
          <a:p>
            <a:pPr marL="0" marR="0" lvl="0" indent="0" algn="l" defTabSz="914400" rtl="0" eaLnBrk="1" fontAlgn="auto" latinLnBrk="0" hangingPunct="1">
              <a:spcBef>
                <a:spcPts val="0"/>
              </a:spcBef>
              <a:spcAft>
                <a:spcPts val="0"/>
              </a:spcAft>
              <a:buClrTx/>
              <a:buSzTx/>
              <a:buFontTx/>
              <a:buNone/>
              <a:tabLst/>
              <a:defRPr/>
            </a:pPr>
            <a:r>
              <a:rPr lang="en-US" sz="1600" spc="-24" dirty="0">
                <a:solidFill>
                  <a:srgbClr val="54585D"/>
                </a:solidFill>
                <a:latin typeface="Poppins"/>
              </a:rPr>
              <a:t>IOTA will support Odevo's mission to enhance living standards through digital transformation and sustain its rapid growth. The insights gained will enable </a:t>
            </a:r>
            <a:r>
              <a:rPr lang="en-US" sz="1600" spc="-24" dirty="0" err="1">
                <a:solidFill>
                  <a:srgbClr val="54585D"/>
                </a:solidFill>
                <a:latin typeface="Poppins"/>
              </a:rPr>
              <a:t>Odevo</a:t>
            </a:r>
            <a:r>
              <a:rPr lang="en-US" sz="1600" spc="-24" dirty="0">
                <a:solidFill>
                  <a:srgbClr val="54585D"/>
                </a:solidFill>
                <a:latin typeface="Poppins"/>
              </a:rPr>
              <a:t> to determine the size of the opportunity in developments above 2k units, the customer needs in the segment, and the potential strategic adjacencies of the services provided by this specific segment and company. This will help decide if </a:t>
            </a:r>
            <a:r>
              <a:rPr lang="en-US" sz="1600" spc="-24" dirty="0" err="1">
                <a:solidFill>
                  <a:srgbClr val="54585D"/>
                </a:solidFill>
                <a:latin typeface="Poppins"/>
              </a:rPr>
              <a:t>Odevo</a:t>
            </a:r>
            <a:r>
              <a:rPr lang="en-US" sz="1600" spc="-24" dirty="0">
                <a:solidFill>
                  <a:srgbClr val="54585D"/>
                </a:solidFill>
                <a:latin typeface="Poppins"/>
              </a:rPr>
              <a:t> continues with the process of evaluating an </a:t>
            </a:r>
            <a:r>
              <a:rPr lang="en-US" sz="1600" spc="-24" dirty="0" err="1">
                <a:solidFill>
                  <a:srgbClr val="54585D"/>
                </a:solidFill>
                <a:latin typeface="Poppins"/>
              </a:rPr>
              <a:t>aquisition</a:t>
            </a:r>
            <a:r>
              <a:rPr lang="en-US" sz="1600" spc="-24" dirty="0">
                <a:solidFill>
                  <a:srgbClr val="54585D"/>
                </a:solidFill>
                <a:latin typeface="Poppins"/>
              </a:rPr>
              <a:t>. </a:t>
            </a:r>
            <a:endParaRPr lang="en-US" sz="1600" b="1" spc="-24" dirty="0">
              <a:solidFill>
                <a:srgbClr val="54585D"/>
              </a:solidFill>
              <a:latin typeface="Poppins"/>
            </a:endParaRPr>
          </a:p>
        </p:txBody>
      </p:sp>
      <p:sp>
        <p:nvSpPr>
          <p:cNvPr id="14" name="TextBox 14"/>
          <p:cNvSpPr txBox="1"/>
          <p:nvPr/>
        </p:nvSpPr>
        <p:spPr>
          <a:xfrm>
            <a:off x="1765258" y="4220032"/>
            <a:ext cx="9000000" cy="738664"/>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85D"/>
                </a:solidFill>
                <a:effectLst/>
                <a:uLnTx/>
                <a:uFillTx/>
                <a:latin typeface="Poppins Bold"/>
                <a:ea typeface="+mn-ea"/>
                <a:cs typeface="+mn-cs"/>
              </a:rPr>
              <a:t>Objective 1: </a:t>
            </a:r>
            <a:r>
              <a:rPr kumimoji="0" lang="en-US" sz="1600" b="0" i="0" u="none" strike="noStrike" kern="1200" cap="none" spc="0" normalizeH="0" baseline="0" noProof="0" dirty="0">
                <a:ln>
                  <a:noFill/>
                </a:ln>
                <a:solidFill>
                  <a:srgbClr val="54585D"/>
                </a:solidFill>
                <a:effectLst/>
                <a:uLnTx/>
                <a:uFillTx/>
                <a:latin typeface="Poppins"/>
                <a:ea typeface="+mn-ea"/>
                <a:cs typeface="+mn-cs"/>
              </a:rPr>
              <a:t>Determine the current market size (TAM, SAM) and market share of the target by state and potential market growth within the services provided to large developments.</a:t>
            </a:r>
          </a:p>
        </p:txBody>
      </p:sp>
      <p:sp>
        <p:nvSpPr>
          <p:cNvPr id="15" name="TextBox 15"/>
          <p:cNvSpPr txBox="1"/>
          <p:nvPr/>
        </p:nvSpPr>
        <p:spPr>
          <a:xfrm>
            <a:off x="1765258" y="5982492"/>
            <a:ext cx="9000000" cy="246221"/>
          </a:xfrm>
          <a:prstGeom prst="rect">
            <a:avLst/>
          </a:prstGeom>
        </p:spPr>
        <p:txBody>
          <a:bodyPr wrap="square" lIns="0" tIns="0" rIns="0" bIns="0" rtlCol="0" anchor="t">
            <a:spAutoFit/>
          </a:bodyPr>
          <a:lstStyle>
            <a:defPPr>
              <a:defRPr lang="en-US"/>
            </a:defPPr>
            <a:lvl1pPr>
              <a:lnSpc>
                <a:spcPts val="1176"/>
              </a:lnSpc>
              <a:defRPr sz="1200">
                <a:solidFill>
                  <a:srgbClr val="54585D"/>
                </a:solidFill>
                <a:latin typeface="Poppins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85D"/>
                </a:solidFill>
                <a:effectLst/>
                <a:uLnTx/>
                <a:uFillTx/>
                <a:latin typeface="Poppins Bold"/>
                <a:ea typeface="+mn-ea"/>
                <a:cs typeface="+mn-cs"/>
              </a:rPr>
              <a:t>Objective 3: </a:t>
            </a:r>
            <a:r>
              <a:rPr lang="en-US" sz="1600" dirty="0">
                <a:latin typeface="Poppins"/>
              </a:rPr>
              <a:t>Evaluate strategic adjacencies to provide other services to these clients.</a:t>
            </a:r>
          </a:p>
        </p:txBody>
      </p:sp>
      <p:sp>
        <p:nvSpPr>
          <p:cNvPr id="16" name="TextBox 16"/>
          <p:cNvSpPr txBox="1"/>
          <p:nvPr/>
        </p:nvSpPr>
        <p:spPr>
          <a:xfrm>
            <a:off x="1765258" y="5193409"/>
            <a:ext cx="9000000" cy="49244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4585D"/>
                </a:solidFill>
                <a:effectLst/>
                <a:uLnTx/>
                <a:uFillTx/>
                <a:latin typeface="Poppins Bold"/>
                <a:ea typeface="+mn-ea"/>
                <a:cs typeface="+mn-cs"/>
              </a:rPr>
              <a:t>Objective 2: </a:t>
            </a:r>
            <a:r>
              <a:rPr kumimoji="0" lang="en-US" sz="1600" b="0" i="0" u="none" strike="noStrike" kern="1200" cap="none" spc="0" normalizeH="0" baseline="0" noProof="0" dirty="0">
                <a:ln>
                  <a:noFill/>
                </a:ln>
                <a:solidFill>
                  <a:srgbClr val="54585D"/>
                </a:solidFill>
                <a:effectLst/>
                <a:uLnTx/>
                <a:uFillTx/>
                <a:latin typeface="Poppins"/>
                <a:ea typeface="+mn-ea"/>
                <a:cs typeface="+mn-cs"/>
              </a:rPr>
              <a:t>Gain in-depth insights into the specific requirements and challenges faced by clients within the segment. </a:t>
            </a:r>
          </a:p>
        </p:txBody>
      </p:sp>
      <p:sp>
        <p:nvSpPr>
          <p:cNvPr id="18" name="TextBox 18"/>
          <p:cNvSpPr txBox="1"/>
          <p:nvPr/>
        </p:nvSpPr>
        <p:spPr>
          <a:xfrm>
            <a:off x="1379180" y="2188302"/>
            <a:ext cx="4010851" cy="1199880"/>
          </a:xfrm>
          <a:prstGeom prst="rect">
            <a:avLst/>
          </a:prstGeom>
        </p:spPr>
        <p:txBody>
          <a:bodyPr lIns="0" tIns="0" rIns="0" bIns="0" rtlCol="0" anchor="t">
            <a:spAutoFit/>
          </a:bodyPr>
          <a:lstStyle/>
          <a:p>
            <a:pPr marL="0" marR="0" lvl="0" indent="0" algn="l" defTabSz="914400" rtl="0" eaLnBrk="1" fontAlgn="auto" latinLnBrk="0" hangingPunct="1">
              <a:lnSpc>
                <a:spcPts val="4620"/>
              </a:lnSpc>
              <a:spcBef>
                <a:spcPts val="0"/>
              </a:spcBef>
              <a:spcAft>
                <a:spcPts val="0"/>
              </a:spcAft>
              <a:buClrTx/>
              <a:buSzTx/>
              <a:buFontTx/>
              <a:buNone/>
              <a:tabLst/>
              <a:defRPr/>
            </a:pPr>
            <a:r>
              <a:rPr kumimoji="0" lang="en-US" sz="4666" b="0" i="0" u="none" strike="noStrike" kern="1200" cap="none" spc="-177" normalizeH="0" baseline="0" noProof="0" dirty="0">
                <a:ln>
                  <a:noFill/>
                </a:ln>
                <a:solidFill>
                  <a:srgbClr val="54585D"/>
                </a:solidFill>
                <a:effectLst/>
                <a:uLnTx/>
                <a:uFillTx/>
                <a:latin typeface="Poppins Bold"/>
                <a:ea typeface="+mn-ea"/>
                <a:cs typeface="+mn-cs"/>
              </a:rPr>
              <a:t>Context and  </a:t>
            </a:r>
            <a:r>
              <a:rPr kumimoji="0" lang="en-US" sz="4666" b="0" i="0" u="none" strike="noStrike" kern="1200" cap="none" spc="-177" normalizeH="0" baseline="0" noProof="0" dirty="0">
                <a:ln>
                  <a:noFill/>
                </a:ln>
                <a:solidFill>
                  <a:srgbClr val="442E98">
                    <a:lumMod val="60000"/>
                    <a:lumOff val="40000"/>
                  </a:srgbClr>
                </a:solidFill>
                <a:effectLst/>
                <a:uLnTx/>
                <a:uFillTx/>
                <a:latin typeface="Poppins Bold"/>
                <a:ea typeface="+mn-ea"/>
                <a:cs typeface="+mn-cs"/>
              </a:rPr>
              <a:t>Objectives</a:t>
            </a:r>
          </a:p>
        </p:txBody>
      </p:sp>
      <p:sp>
        <p:nvSpPr>
          <p:cNvPr id="19" name="Freeform 19"/>
          <p:cNvSpPr/>
          <p:nvPr/>
        </p:nvSpPr>
        <p:spPr>
          <a:xfrm>
            <a:off x="1379180" y="4183642"/>
            <a:ext cx="246517" cy="246517"/>
          </a:xfrm>
          <a:custGeom>
            <a:avLst/>
            <a:gdLst/>
            <a:ahLst/>
            <a:cxnLst/>
            <a:rect l="l" t="t" r="r" b="b"/>
            <a:pathLst>
              <a:path w="369775" h="369775">
                <a:moveTo>
                  <a:pt x="0" y="0"/>
                </a:moveTo>
                <a:lnTo>
                  <a:pt x="369775" y="0"/>
                </a:lnTo>
                <a:lnTo>
                  <a:pt x="369775" y="369775"/>
                </a:lnTo>
                <a:lnTo>
                  <a:pt x="0" y="36977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0" name="Freeform 20"/>
          <p:cNvSpPr/>
          <p:nvPr/>
        </p:nvSpPr>
        <p:spPr>
          <a:xfrm>
            <a:off x="1379180" y="5255079"/>
            <a:ext cx="246517" cy="246517"/>
          </a:xfrm>
          <a:custGeom>
            <a:avLst/>
            <a:gdLst/>
            <a:ahLst/>
            <a:cxnLst/>
            <a:rect l="l" t="t" r="r" b="b"/>
            <a:pathLst>
              <a:path w="369775" h="369775">
                <a:moveTo>
                  <a:pt x="0" y="0"/>
                </a:moveTo>
                <a:lnTo>
                  <a:pt x="369775" y="0"/>
                </a:lnTo>
                <a:lnTo>
                  <a:pt x="369775" y="369776"/>
                </a:lnTo>
                <a:lnTo>
                  <a:pt x="0" y="36977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1" name="Freeform 21"/>
          <p:cNvSpPr/>
          <p:nvPr/>
        </p:nvSpPr>
        <p:spPr>
          <a:xfrm>
            <a:off x="1379180" y="5938838"/>
            <a:ext cx="246517" cy="246517"/>
          </a:xfrm>
          <a:custGeom>
            <a:avLst/>
            <a:gdLst/>
            <a:ahLst/>
            <a:cxnLst/>
            <a:rect l="l" t="t" r="r" b="b"/>
            <a:pathLst>
              <a:path w="369775" h="369775">
                <a:moveTo>
                  <a:pt x="0" y="0"/>
                </a:moveTo>
                <a:lnTo>
                  <a:pt x="369776" y="0"/>
                </a:lnTo>
                <a:lnTo>
                  <a:pt x="369776" y="369775"/>
                </a:lnTo>
                <a:lnTo>
                  <a:pt x="0" y="36977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2050" name="Picture 2" descr="Global Property Management Group Odevo Continues U.S. Expansion With ...">
            <a:extLst>
              <a:ext uri="{FF2B5EF4-FFF2-40B4-BE49-F238E27FC236}">
                <a16:creationId xmlns:a16="http://schemas.microsoft.com/office/drawing/2014/main" id="{DBCE418B-51E1-DD9D-1C1D-19C248BBD1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825291"/>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57C38481-9E3F-8544-C195-71389E2A5F9F}"/>
              </a:ext>
            </a:extLst>
          </p:cNvPr>
          <p:cNvSpPr txBox="1">
            <a:spLocks/>
          </p:cNvSpPr>
          <p:nvPr/>
        </p:nvSpPr>
        <p:spPr>
          <a:xfrm>
            <a:off x="3890792" y="1830042"/>
            <a:ext cx="8116138" cy="2742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Context and objectives</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methodology</a:t>
            </a:r>
            <a:endParaRPr kumimoji="0" lang="en-US" sz="1800" b="1" i="0" u="none" strike="noStrike" kern="1200" cap="none" spc="0" normalizeH="0" baseline="0" noProof="0" dirty="0">
              <a:ln>
                <a:noFill/>
              </a:ln>
              <a:solidFill>
                <a:srgbClr val="FFFFFF"/>
              </a:solidFill>
              <a:effectLst/>
              <a:uLnTx/>
              <a:uFillTx/>
              <a:latin typeface="Poppins"/>
              <a:ea typeface="+mj-ea"/>
              <a:cs typeface="Poppins"/>
            </a:endParaRP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Why IOTA Impact</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Team IOTA and timeline</a:t>
            </a:r>
          </a:p>
          <a:p>
            <a:pPr marL="0" marR="0" lvl="0" indent="0" algn="just" defTabSz="914400" rtl="0" eaLnBrk="1" fontAlgn="auto" latinLnBrk="0" hangingPunct="1">
              <a:lnSpc>
                <a:spcPts val="2000"/>
              </a:lnSpc>
              <a:spcBef>
                <a:spcPts val="0"/>
              </a:spcBef>
              <a:spcAft>
                <a:spcPts val="1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oppins"/>
                <a:ea typeface="+mj-ea"/>
                <a:cs typeface="Poppins"/>
              </a:rPr>
              <a:t>Proposed investment</a:t>
            </a:r>
          </a:p>
        </p:txBody>
      </p:sp>
      <p:sp>
        <p:nvSpPr>
          <p:cNvPr id="3" name="Google Shape;291;p35">
            <a:extLst>
              <a:ext uri="{FF2B5EF4-FFF2-40B4-BE49-F238E27FC236}">
                <a16:creationId xmlns:a16="http://schemas.microsoft.com/office/drawing/2014/main" id="{917EFD4C-E48B-9C02-591A-3C14F07B8CA5}"/>
              </a:ext>
            </a:extLst>
          </p:cNvPr>
          <p:cNvSpPr txBox="1">
            <a:spLocks noGrp="1"/>
          </p:cNvSpPr>
          <p:nvPr/>
        </p:nvSpPr>
        <p:spPr>
          <a:xfrm>
            <a:off x="2905844" y="2594890"/>
            <a:ext cx="876793" cy="374993"/>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2</a:t>
            </a:r>
            <a:endParaRPr/>
          </a:p>
        </p:txBody>
      </p:sp>
      <p:sp>
        <p:nvSpPr>
          <p:cNvPr id="5" name="Google Shape;289;p35">
            <a:extLst>
              <a:ext uri="{FF2B5EF4-FFF2-40B4-BE49-F238E27FC236}">
                <a16:creationId xmlns:a16="http://schemas.microsoft.com/office/drawing/2014/main" id="{93E2148B-E1E8-A482-ED26-C3F083DD134F}"/>
              </a:ext>
            </a:extLst>
          </p:cNvPr>
          <p:cNvSpPr txBox="1">
            <a:spLocks noGrp="1"/>
          </p:cNvSpPr>
          <p:nvPr/>
        </p:nvSpPr>
        <p:spPr>
          <a:xfrm>
            <a:off x="2905844" y="2176110"/>
            <a:ext cx="876793" cy="374993"/>
          </a:xfrm>
          <a:prstGeom prst="rect">
            <a:avLst/>
          </a:prstGeom>
          <a:solidFill>
            <a:srgbClr val="B5B9FD"/>
          </a:solidFill>
        </p:spPr>
        <p:txBody>
          <a:bodyPr spcFirstLastPara="1" wrap="square" lIns="91425" tIns="91425" rIns="91425" bIns="91425" anchor="ctr" anchorCtr="0">
            <a:noAutofit/>
          </a:bodyPr>
          <a:lstStyle>
            <a:defPPr>
              <a:defRPr lang="es-ES"/>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r>
              <a:rPr lang="en"/>
              <a:t>01</a:t>
            </a:r>
            <a:endParaRPr/>
          </a:p>
        </p:txBody>
      </p:sp>
      <p:sp>
        <p:nvSpPr>
          <p:cNvPr id="9" name="Google Shape;291;p35">
            <a:extLst>
              <a:ext uri="{FF2B5EF4-FFF2-40B4-BE49-F238E27FC236}">
                <a16:creationId xmlns:a16="http://schemas.microsoft.com/office/drawing/2014/main" id="{F34FEE20-819B-7659-489B-C6CB8FA09970}"/>
              </a:ext>
            </a:extLst>
          </p:cNvPr>
          <p:cNvSpPr txBox="1">
            <a:spLocks noGrp="1"/>
          </p:cNvSpPr>
          <p:nvPr/>
        </p:nvSpPr>
        <p:spPr>
          <a:xfrm>
            <a:off x="2905844" y="3013670"/>
            <a:ext cx="876793" cy="374993"/>
          </a:xfrm>
          <a:prstGeom prst="rect">
            <a:avLst/>
          </a:prstGeom>
          <a:solidFill>
            <a:srgbClr val="B5B9FD"/>
          </a:soli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3</a:t>
            </a:r>
            <a:endParaRPr kumimoji="0" sz="1800" b="1" i="0" u="none" strike="noStrike" kern="1200" cap="none" spc="0" normalizeH="0" baseline="0" noProof="0">
              <a:ln>
                <a:noFill/>
              </a:ln>
              <a:solidFill>
                <a:srgbClr val="FFFFFF"/>
              </a:solidFill>
              <a:effectLst/>
              <a:uLnTx/>
              <a:uFillTx/>
              <a:latin typeface="Poppins"/>
              <a:ea typeface="+mj-ea"/>
              <a:cs typeface="+mj-cs"/>
            </a:endParaRPr>
          </a:p>
        </p:txBody>
      </p:sp>
      <p:sp>
        <p:nvSpPr>
          <p:cNvPr id="21" name="object 6">
            <a:extLst>
              <a:ext uri="{FF2B5EF4-FFF2-40B4-BE49-F238E27FC236}">
                <a16:creationId xmlns:a16="http://schemas.microsoft.com/office/drawing/2014/main" id="{B08CF098-A2C4-0DAC-DF74-BC0E4E2B6A96}"/>
              </a:ext>
            </a:extLst>
          </p:cNvPr>
          <p:cNvSpPr/>
          <p:nvPr/>
        </p:nvSpPr>
        <p:spPr>
          <a:xfrm rot="5400000">
            <a:off x="1704106" y="731853"/>
            <a:ext cx="1134992" cy="983362"/>
          </a:xfrm>
          <a:custGeom>
            <a:avLst/>
            <a:gdLst/>
            <a:ahLst/>
            <a:cxnLst/>
            <a:rect l="l" t="t" r="r" b="b"/>
            <a:pathLst>
              <a:path w="646429" h="560070">
                <a:moveTo>
                  <a:pt x="323138" y="0"/>
                </a:moveTo>
                <a:lnTo>
                  <a:pt x="0" y="559701"/>
                </a:lnTo>
                <a:lnTo>
                  <a:pt x="164007" y="559701"/>
                </a:lnTo>
                <a:lnTo>
                  <a:pt x="323138" y="284086"/>
                </a:lnTo>
                <a:lnTo>
                  <a:pt x="482269" y="559701"/>
                </a:lnTo>
                <a:lnTo>
                  <a:pt x="646277" y="559701"/>
                </a:lnTo>
                <a:lnTo>
                  <a:pt x="323138" y="0"/>
                </a:lnTo>
                <a:close/>
              </a:path>
            </a:pathLst>
          </a:custGeom>
          <a:solidFill>
            <a:srgbClr val="8D80FF">
              <a:alpha val="20000"/>
            </a:srgbClr>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1200" cap="none" spc="0" normalizeH="0" baseline="0" noProof="0">
              <a:ln>
                <a:noFill/>
              </a:ln>
              <a:solidFill>
                <a:srgbClr val="000000"/>
              </a:solidFill>
              <a:effectLst/>
              <a:uLnTx/>
              <a:uFillTx/>
              <a:latin typeface="Arial"/>
              <a:cs typeface="Arial"/>
              <a:sym typeface="Arial"/>
            </a:endParaRPr>
          </a:p>
        </p:txBody>
      </p:sp>
      <p:sp>
        <p:nvSpPr>
          <p:cNvPr id="6" name="Título 1">
            <a:extLst>
              <a:ext uri="{FF2B5EF4-FFF2-40B4-BE49-F238E27FC236}">
                <a16:creationId xmlns:a16="http://schemas.microsoft.com/office/drawing/2014/main" id="{A1C91E4D-A927-263A-8677-2AE4226F53B3}"/>
              </a:ext>
            </a:extLst>
          </p:cNvPr>
          <p:cNvSpPr txBox="1">
            <a:spLocks/>
          </p:cNvSpPr>
          <p:nvPr/>
        </p:nvSpPr>
        <p:spPr>
          <a:xfrm>
            <a:off x="618006" y="976028"/>
            <a:ext cx="2145277" cy="471639"/>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3200" b="1" i="0" u="none" strike="noStrike" kern="1200" cap="none" spc="0" normalizeH="0" baseline="0" noProof="0" dirty="0">
                <a:ln>
                  <a:noFill/>
                </a:ln>
                <a:solidFill>
                  <a:srgbClr val="FFFFFF"/>
                </a:solidFill>
                <a:effectLst/>
                <a:uLnTx/>
                <a:uFillTx/>
                <a:latin typeface="Poppins"/>
                <a:ea typeface="+mj-ea"/>
                <a:cs typeface="+mj-cs"/>
              </a:rPr>
              <a:t>Content</a:t>
            </a:r>
          </a:p>
        </p:txBody>
      </p:sp>
      <p:sp>
        <p:nvSpPr>
          <p:cNvPr id="2" name="Google Shape;289;p35">
            <a:extLst>
              <a:ext uri="{FF2B5EF4-FFF2-40B4-BE49-F238E27FC236}">
                <a16:creationId xmlns:a16="http://schemas.microsoft.com/office/drawing/2014/main" id="{410BB48F-3A62-D028-E675-3261523B6CE7}"/>
              </a:ext>
            </a:extLst>
          </p:cNvPr>
          <p:cNvSpPr txBox="1">
            <a:spLocks noGrp="1"/>
          </p:cNvSpPr>
          <p:nvPr/>
        </p:nvSpPr>
        <p:spPr>
          <a:xfrm>
            <a:off x="2905844" y="3432450"/>
            <a:ext cx="876793" cy="374993"/>
          </a:xfrm>
          <a:prstGeom prst="rect">
            <a:avLst/>
          </a:prstGeom>
          <a:solidFill>
            <a:srgbClr val="B5B9FD"/>
          </a:soli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4</a:t>
            </a:r>
            <a:endParaRPr kumimoji="0" sz="1800" b="1" i="0" u="none" strike="noStrike" kern="1200" cap="none" spc="0" normalizeH="0" baseline="0" noProof="0">
              <a:ln>
                <a:noFill/>
              </a:ln>
              <a:solidFill>
                <a:srgbClr val="FFFFFF"/>
              </a:solidFill>
              <a:effectLst/>
              <a:uLnTx/>
              <a:uFillTx/>
              <a:latin typeface="Poppins"/>
              <a:ea typeface="+mj-ea"/>
              <a:cs typeface="+mj-cs"/>
            </a:endParaRPr>
          </a:p>
        </p:txBody>
      </p:sp>
      <p:sp>
        <p:nvSpPr>
          <p:cNvPr id="7" name="Google Shape;289;p35">
            <a:extLst>
              <a:ext uri="{FF2B5EF4-FFF2-40B4-BE49-F238E27FC236}">
                <a16:creationId xmlns:a16="http://schemas.microsoft.com/office/drawing/2014/main" id="{1CC0F131-0D3E-34F6-B5C4-68CC52DDD248}"/>
              </a:ext>
            </a:extLst>
          </p:cNvPr>
          <p:cNvSpPr txBox="1">
            <a:spLocks noGrp="1"/>
          </p:cNvSpPr>
          <p:nvPr/>
        </p:nvSpPr>
        <p:spPr>
          <a:xfrm>
            <a:off x="2905844" y="3855071"/>
            <a:ext cx="876793" cy="374993"/>
          </a:xfrm>
          <a:prstGeom prst="rect">
            <a:avLst/>
          </a:prstGeom>
          <a:solidFill>
            <a:srgbClr val="B5B9FD"/>
          </a:solidFill>
        </p:spPr>
        <p:txBody>
          <a:bodyPr spcFirstLastPara="1" wrap="square" lIns="91425" tIns="91425" rIns="91425" bIns="91425" anchor="ctr" anchorCtr="0">
            <a:noAutofit/>
          </a:bodyPr>
          <a:lstStyle>
            <a:defPPr>
              <a:defRPr lang="es-CO"/>
            </a:defPPr>
            <a:lvl1pPr marR="0" lvl="0" indent="0" algn="r" defTabSz="685800" fontAlgn="auto">
              <a:lnSpc>
                <a:spcPct val="115000"/>
              </a:lnSpc>
              <a:spcBef>
                <a:spcPts val="0"/>
              </a:spcBef>
              <a:spcAft>
                <a:spcPts val="0"/>
              </a:spcAft>
              <a:buClrTx/>
              <a:buSzPts val="3000"/>
              <a:buFontTx/>
              <a:buNone/>
              <a:tabLst/>
              <a:defRPr kumimoji="0" b="1" i="0" u="none" strike="noStrike" cap="none" spc="0" normalizeH="0" baseline="0">
                <a:ln>
                  <a:noFill/>
                </a:ln>
                <a:solidFill>
                  <a:srgbClr val="FFFFFF"/>
                </a:solidFill>
                <a:effectLst/>
                <a:uLnTx/>
                <a:uFillTx/>
                <a:latin typeface="Poppins"/>
                <a:ea typeface="+mj-ea"/>
                <a:cs typeface="+mj-cs"/>
              </a:defRPr>
            </a:lvl1pPr>
            <a:lvl2pPr lvl="1">
              <a:spcBef>
                <a:spcPts val="0"/>
              </a:spcBef>
              <a:spcAft>
                <a:spcPts val="0"/>
              </a:spcAft>
              <a:buSzPts val="3000"/>
              <a:buNone/>
              <a:defRPr sz="3000"/>
            </a:lvl2pPr>
            <a:lvl3pPr lvl="2">
              <a:spcBef>
                <a:spcPts val="0"/>
              </a:spcBef>
              <a:spcAft>
                <a:spcPts val="0"/>
              </a:spcAft>
              <a:buSzPts val="3000"/>
              <a:buNone/>
              <a:defRPr sz="3000"/>
            </a:lvl3pPr>
            <a:lvl4pPr lvl="3">
              <a:spcBef>
                <a:spcPts val="0"/>
              </a:spcBef>
              <a:spcAft>
                <a:spcPts val="0"/>
              </a:spcAft>
              <a:buSzPts val="3000"/>
              <a:buNone/>
              <a:defRPr sz="3000"/>
            </a:lvl4pPr>
            <a:lvl5pPr lvl="4">
              <a:spcBef>
                <a:spcPts val="0"/>
              </a:spcBef>
              <a:spcAft>
                <a:spcPts val="0"/>
              </a:spcAft>
              <a:buSzPts val="3000"/>
              <a:buNone/>
              <a:defRPr sz="3000"/>
            </a:lvl5pPr>
            <a:lvl6pPr lvl="5">
              <a:spcBef>
                <a:spcPts val="0"/>
              </a:spcBef>
              <a:spcAft>
                <a:spcPts val="0"/>
              </a:spcAft>
              <a:buSzPts val="3000"/>
              <a:buNone/>
              <a:defRPr sz="3000"/>
            </a:lvl6pPr>
            <a:lvl7pPr lvl="6">
              <a:spcBef>
                <a:spcPts val="0"/>
              </a:spcBef>
              <a:spcAft>
                <a:spcPts val="0"/>
              </a:spcAft>
              <a:buSzPts val="3000"/>
              <a:buNone/>
              <a:defRPr sz="3000"/>
            </a:lvl7pPr>
            <a:lvl8pPr lvl="7">
              <a:spcBef>
                <a:spcPts val="0"/>
              </a:spcBef>
              <a:spcAft>
                <a:spcPts val="0"/>
              </a:spcAft>
              <a:buSzPts val="3000"/>
              <a:buNone/>
              <a:defRPr sz="3000"/>
            </a:lvl8pPr>
            <a:lvl9pPr lvl="8">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a:t>
            </a:r>
            <a:r>
              <a:rPr kumimoji="0" lang="en" sz="1800" b="1" i="0" u="none" strike="noStrike" kern="1200" cap="none" spc="0" normalizeH="0" baseline="0" noProof="0" dirty="0">
                <a:ln>
                  <a:noFill/>
                </a:ln>
                <a:solidFill>
                  <a:srgbClr val="FFFFFF"/>
                </a:solidFill>
                <a:effectLst/>
                <a:uLnTx/>
                <a:uFillTx/>
                <a:latin typeface="Poppins"/>
                <a:ea typeface="+mj-ea"/>
                <a:cs typeface="+mj-cs"/>
              </a:rPr>
              <a:t>5</a:t>
            </a:r>
            <a:endParaRPr kumimoji="0" sz="1800" b="1" i="0" u="none" strike="noStrike" kern="1200" cap="none" spc="0" normalizeH="0" baseline="0" noProof="0" dirty="0">
              <a:ln>
                <a:noFill/>
              </a:ln>
              <a:solidFill>
                <a:srgbClr val="FFFFFF"/>
              </a:solidFill>
              <a:effectLst/>
              <a:uLnTx/>
              <a:uFillTx/>
              <a:latin typeface="Poppins"/>
              <a:ea typeface="+mj-ea"/>
              <a:cs typeface="+mj-cs"/>
            </a:endParaRPr>
          </a:p>
        </p:txBody>
      </p:sp>
    </p:spTree>
    <p:extLst>
      <p:ext uri="{BB962C8B-B14F-4D97-AF65-F5344CB8AC3E}">
        <p14:creationId xmlns:p14="http://schemas.microsoft.com/office/powerpoint/2010/main" val="2598255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Gráfico 64">
            <a:extLst>
              <a:ext uri="{FF2B5EF4-FFF2-40B4-BE49-F238E27FC236}">
                <a16:creationId xmlns:a16="http://schemas.microsoft.com/office/drawing/2014/main" id="{7B84341A-1094-A751-C490-35E8D02CE41A}"/>
              </a:ext>
            </a:extLst>
          </p:cNvPr>
          <p:cNvSpPr/>
          <p:nvPr/>
        </p:nvSpPr>
        <p:spPr>
          <a:xfrm>
            <a:off x="6276070" y="798443"/>
            <a:ext cx="4788277" cy="370800"/>
          </a:xfrm>
          <a:prstGeom prst="homePlate">
            <a:avLst/>
          </a:prstGeom>
          <a:solidFill>
            <a:srgbClr val="6C60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 name="Freeform 5"/>
          <p:cNvSpPr/>
          <p:nvPr/>
        </p:nvSpPr>
        <p:spPr>
          <a:xfrm>
            <a:off x="-1440870" y="5115835"/>
            <a:ext cx="3415140" cy="3415140"/>
          </a:xfrm>
          <a:custGeom>
            <a:avLst/>
            <a:gdLst/>
            <a:ahLst/>
            <a:cxnLst/>
            <a:rect l="l" t="t" r="r" b="b"/>
            <a:pathLst>
              <a:path w="5122710" h="5122710">
                <a:moveTo>
                  <a:pt x="0" y="0"/>
                </a:moveTo>
                <a:lnTo>
                  <a:pt x="5122710" y="0"/>
                </a:lnTo>
                <a:lnTo>
                  <a:pt x="5122710" y="5122710"/>
                </a:lnTo>
                <a:lnTo>
                  <a:pt x="0" y="512271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2050" name="Picture 2" descr="Global Property Management Group Odevo Continues U.S. Expansion With ...">
            <a:extLst>
              <a:ext uri="{FF2B5EF4-FFF2-40B4-BE49-F238E27FC236}">
                <a16:creationId xmlns:a16="http://schemas.microsoft.com/office/drawing/2014/main" id="{DBCE418B-51E1-DD9D-1C1D-19C248BBD1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22">
            <a:extLst>
              <a:ext uri="{FF2B5EF4-FFF2-40B4-BE49-F238E27FC236}">
                <a16:creationId xmlns:a16="http://schemas.microsoft.com/office/drawing/2014/main" id="{B5BF7F63-9151-B742-F5F2-53AEA5AB27EB}"/>
              </a:ext>
            </a:extLst>
          </p:cNvPr>
          <p:cNvSpPr/>
          <p:nvPr/>
        </p:nvSpPr>
        <p:spPr>
          <a:xfrm>
            <a:off x="1274016" y="798445"/>
            <a:ext cx="5002786" cy="369332"/>
          </a:xfrm>
          <a:prstGeom prst="rect">
            <a:avLst/>
          </a:prstGeom>
          <a:solidFill>
            <a:srgbClr val="8D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4" name="Triangle 35">
            <a:extLst>
              <a:ext uri="{FF2B5EF4-FFF2-40B4-BE49-F238E27FC236}">
                <a16:creationId xmlns:a16="http://schemas.microsoft.com/office/drawing/2014/main" id="{EECEE998-BE29-5C82-3181-32A85F2717B7}"/>
              </a:ext>
            </a:extLst>
          </p:cNvPr>
          <p:cNvSpPr/>
          <p:nvPr/>
        </p:nvSpPr>
        <p:spPr>
          <a:xfrm rot="5400000">
            <a:off x="6193643" y="875857"/>
            <a:ext cx="369332" cy="214509"/>
          </a:xfrm>
          <a:prstGeom prst="triangle">
            <a:avLst/>
          </a:prstGeom>
          <a:solidFill>
            <a:srgbClr val="8D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7" name="Gráfico 64">
            <a:extLst>
              <a:ext uri="{FF2B5EF4-FFF2-40B4-BE49-F238E27FC236}">
                <a16:creationId xmlns:a16="http://schemas.microsoft.com/office/drawing/2014/main" id="{FC239926-804D-540A-2015-220B246540D5}"/>
              </a:ext>
            </a:extLst>
          </p:cNvPr>
          <p:cNvSpPr/>
          <p:nvPr/>
        </p:nvSpPr>
        <p:spPr>
          <a:xfrm>
            <a:off x="1300909" y="3496150"/>
            <a:ext cx="9790331" cy="302577"/>
          </a:xfrm>
          <a:prstGeom prst="homePlate">
            <a:avLst/>
          </a:prstGeom>
          <a:solidFill>
            <a:srgbClr val="442E9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8" name="CuadroTexto 7">
            <a:extLst>
              <a:ext uri="{FF2B5EF4-FFF2-40B4-BE49-F238E27FC236}">
                <a16:creationId xmlns:a16="http://schemas.microsoft.com/office/drawing/2014/main" id="{8D40EF30-BB20-A5DD-9A2B-EE4E0330DAB1}"/>
              </a:ext>
            </a:extLst>
          </p:cNvPr>
          <p:cNvSpPr txBox="1"/>
          <p:nvPr/>
        </p:nvSpPr>
        <p:spPr>
          <a:xfrm>
            <a:off x="1247123" y="2161612"/>
            <a:ext cx="4881805" cy="1354217"/>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b="1" dirty="0">
                <a:solidFill>
                  <a:srgbClr val="545354"/>
                </a:solidFill>
                <a:latin typeface="+mj-lt"/>
                <a:cs typeface="Poppins"/>
              </a:rPr>
              <a:t>Comprehend the market size </a:t>
            </a:r>
            <a:r>
              <a:rPr lang="en-US" sz="1100" dirty="0">
                <a:solidFill>
                  <a:srgbClr val="545354"/>
                </a:solidFill>
                <a:latin typeface="+mj-lt"/>
                <a:cs typeface="Poppins"/>
              </a:rPr>
              <a:t>Determine the current market size (TAM, SAM) and market share of the target by state and potential market growth within the services provided to large developm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b="1" dirty="0">
                <a:solidFill>
                  <a:srgbClr val="545354"/>
                </a:solidFill>
                <a:latin typeface="+mj-lt"/>
                <a:cs typeface="Poppins"/>
              </a:rPr>
              <a:t>Gain in-depth insights </a:t>
            </a:r>
            <a:r>
              <a:rPr lang="en-US" sz="1100" dirty="0">
                <a:solidFill>
                  <a:srgbClr val="545354"/>
                </a:solidFill>
                <a:latin typeface="+mj-lt"/>
                <a:cs typeface="Poppins"/>
              </a:rPr>
              <a:t>into the specific requirements faced by large developments, how the current solutions meet their needs and the pain points they currently have</a:t>
            </a:r>
          </a:p>
        </p:txBody>
      </p:sp>
      <p:sp>
        <p:nvSpPr>
          <p:cNvPr id="9" name="CuadroTexto 8">
            <a:extLst>
              <a:ext uri="{FF2B5EF4-FFF2-40B4-BE49-F238E27FC236}">
                <a16:creationId xmlns:a16="http://schemas.microsoft.com/office/drawing/2014/main" id="{29D1C70A-B876-567E-2C6E-62C980A064D1}"/>
              </a:ext>
            </a:extLst>
          </p:cNvPr>
          <p:cNvSpPr txBox="1"/>
          <p:nvPr/>
        </p:nvSpPr>
        <p:spPr>
          <a:xfrm>
            <a:off x="6485564" y="2186932"/>
            <a:ext cx="4484749" cy="1184940"/>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b="1" dirty="0">
                <a:solidFill>
                  <a:srgbClr val="545354"/>
                </a:solidFill>
                <a:latin typeface="+mj-lt"/>
                <a:cs typeface="Poppins"/>
              </a:rPr>
              <a:t>Evaluate strategic opportunities </a:t>
            </a:r>
            <a:r>
              <a:rPr lang="en-US" sz="1100" dirty="0">
                <a:solidFill>
                  <a:srgbClr val="545354"/>
                </a:solidFill>
                <a:latin typeface="+mj-lt"/>
                <a:cs typeface="Poppins"/>
              </a:rPr>
              <a:t>through discussions with experts and working sessions to identify opportunities and determine their potential for driving growth and innov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b="1" dirty="0">
                <a:solidFill>
                  <a:srgbClr val="545354"/>
                </a:solidFill>
                <a:latin typeface="+mj-lt"/>
                <a:cs typeface="Poppins"/>
              </a:rPr>
              <a:t>Recommend a prioritization of efforts </a:t>
            </a:r>
            <a:r>
              <a:rPr lang="en-US" sz="1100" dirty="0">
                <a:solidFill>
                  <a:srgbClr val="545354"/>
                </a:solidFill>
                <a:latin typeface="+mj-lt"/>
                <a:cs typeface="Poppins"/>
              </a:rPr>
              <a:t>based on a high-level assessment of their feasibility, impact, and alignment with Odevo's strategic goals.</a:t>
            </a:r>
          </a:p>
        </p:txBody>
      </p:sp>
      <p:sp>
        <p:nvSpPr>
          <p:cNvPr id="12" name="TextBox 5">
            <a:extLst>
              <a:ext uri="{FF2B5EF4-FFF2-40B4-BE49-F238E27FC236}">
                <a16:creationId xmlns:a16="http://schemas.microsoft.com/office/drawing/2014/main" id="{DA055A32-3FF8-64F9-2BF3-6B6B03EED143}"/>
              </a:ext>
            </a:extLst>
          </p:cNvPr>
          <p:cNvSpPr txBox="1"/>
          <p:nvPr/>
        </p:nvSpPr>
        <p:spPr>
          <a:xfrm>
            <a:off x="6474609" y="3928342"/>
            <a:ext cx="4394399" cy="2031325"/>
          </a:xfrm>
          <a:prstGeom prst="rect">
            <a:avLst/>
          </a:prstGeom>
          <a:noFill/>
        </p:spPr>
        <p:txBody>
          <a:bodyPr wrap="square" lIns="91440" tIns="45720" rIns="91440" bIns="45720" rtlCol="0" anchor="t">
            <a:spAutoFit/>
          </a:bodyPr>
          <a:lstStyle/>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100" b="1" dirty="0">
                <a:solidFill>
                  <a:srgbClr val="545354"/>
                </a:solidFill>
                <a:latin typeface="+mj-lt"/>
                <a:cs typeface="Poppins"/>
              </a:rPr>
              <a:t>Ideation Workshops:</a:t>
            </a:r>
            <a:r>
              <a:rPr lang="en-US" sz="1100" dirty="0">
                <a:solidFill>
                  <a:srgbClr val="545354"/>
                </a:solidFill>
                <a:latin typeface="+mj-lt"/>
                <a:cs typeface="Poppins"/>
              </a:rPr>
              <a:t> Facilitate interactive workshops with the </a:t>
            </a:r>
            <a:r>
              <a:rPr lang="en-US" sz="1100" dirty="0" err="1">
                <a:solidFill>
                  <a:srgbClr val="545354"/>
                </a:solidFill>
                <a:latin typeface="+mj-lt"/>
                <a:cs typeface="Poppins"/>
              </a:rPr>
              <a:t>Odevo</a:t>
            </a:r>
            <a:r>
              <a:rPr lang="en-US" sz="1100" dirty="0">
                <a:solidFill>
                  <a:srgbClr val="545354"/>
                </a:solidFill>
                <a:latin typeface="+mj-lt"/>
                <a:cs typeface="Poppins"/>
              </a:rPr>
              <a:t> team to collaboratively assess the strategic opportunities based on the data gathered in phase 1. These sessions will focus on brainstorming, evaluating, and prioritizing initiatives based on feasibility and potential impac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100" b="1" dirty="0">
                <a:solidFill>
                  <a:srgbClr val="545354"/>
                </a:solidFill>
                <a:latin typeface="+mj-lt"/>
                <a:cs typeface="Poppins"/>
              </a:rPr>
              <a:t>Adjacency assessment:</a:t>
            </a:r>
            <a:r>
              <a:rPr lang="en-US" sz="1100" dirty="0">
                <a:solidFill>
                  <a:srgbClr val="545354"/>
                </a:solidFill>
                <a:latin typeface="+mj-lt"/>
                <a:cs typeface="Poppins"/>
              </a:rPr>
              <a:t> Synthesize the insights from the market analysis and workshops to understand prioritized adjacencies. This high-level assessment will be tailored to guide Odevo's acquisition efforts, ensuring alignment with market needs and competitive advantages.</a:t>
            </a:r>
          </a:p>
        </p:txBody>
      </p:sp>
      <p:sp>
        <p:nvSpPr>
          <p:cNvPr id="22" name="TextBox 19">
            <a:extLst>
              <a:ext uri="{FF2B5EF4-FFF2-40B4-BE49-F238E27FC236}">
                <a16:creationId xmlns:a16="http://schemas.microsoft.com/office/drawing/2014/main" id="{502BCC47-4A27-EF8F-94A4-FC2C6AA596A4}"/>
              </a:ext>
            </a:extLst>
          </p:cNvPr>
          <p:cNvSpPr txBox="1"/>
          <p:nvPr/>
        </p:nvSpPr>
        <p:spPr>
          <a:xfrm>
            <a:off x="1314355" y="3854166"/>
            <a:ext cx="4920170" cy="3031599"/>
          </a:xfrm>
          <a:prstGeom prst="rect">
            <a:avLst/>
          </a:prstGeom>
          <a:noFill/>
        </p:spPr>
        <p:txBody>
          <a:bodyPr wrap="square" lIns="91440" tIns="45720" rIns="91440" bIns="45720" rtlCol="0" anchor="t">
            <a:spAutoFit/>
          </a:bodyPr>
          <a:lstStyle/>
          <a:p>
            <a:pPr marL="228600" indent="-228600">
              <a:spcBef>
                <a:spcPts val="600"/>
              </a:spcBef>
              <a:buFont typeface="+mj-lt"/>
              <a:buAutoNum type="arabicPeriod"/>
            </a:pPr>
            <a:r>
              <a:rPr lang="en-US" sz="1100" b="1" dirty="0">
                <a:solidFill>
                  <a:srgbClr val="545354"/>
                </a:solidFill>
                <a:latin typeface="+mj-lt"/>
                <a:cs typeface="Poppins"/>
              </a:rPr>
              <a:t>Client interviews: </a:t>
            </a:r>
            <a:r>
              <a:rPr lang="en-US" sz="1100" dirty="0">
                <a:solidFill>
                  <a:srgbClr val="545354"/>
                </a:solidFill>
                <a:latin typeface="+mj-lt"/>
                <a:cs typeface="Poppins"/>
              </a:rPr>
              <a:t>Conduct 50 in-depth interviews with residential complex managers of more than 2k units to uncover critical insights into their operational needs, expectations from property management services, current challenges, and the performance of existing service providers.</a:t>
            </a:r>
          </a:p>
          <a:p>
            <a:pPr marL="228600" indent="-228600">
              <a:spcBef>
                <a:spcPts val="600"/>
              </a:spcBef>
              <a:buFont typeface="+mj-lt"/>
              <a:buAutoNum type="arabicPeriod"/>
            </a:pPr>
            <a:r>
              <a:rPr lang="en-US" sz="1100" b="1" dirty="0">
                <a:solidFill>
                  <a:srgbClr val="545354"/>
                </a:solidFill>
                <a:latin typeface="+mj-lt"/>
                <a:cs typeface="Poppins"/>
              </a:rPr>
              <a:t>Industry expert interviews</a:t>
            </a:r>
            <a:r>
              <a:rPr lang="en-US" sz="1100" dirty="0">
                <a:solidFill>
                  <a:srgbClr val="545354"/>
                </a:solidFill>
                <a:latin typeface="+mj-lt"/>
                <a:cs typeface="Poppins"/>
              </a:rPr>
              <a:t>: Engage with 25 industry experts to gain a nuanced understanding of the market size, trends, innovations, and the overall dynamics within the property management services sector.</a:t>
            </a:r>
          </a:p>
          <a:p>
            <a:pPr marL="228600" indent="-228600">
              <a:spcBef>
                <a:spcPts val="600"/>
              </a:spcBef>
              <a:buFont typeface="+mj-lt"/>
              <a:buAutoNum type="arabicPeriod"/>
            </a:pPr>
            <a:r>
              <a:rPr lang="en-US" sz="1100" b="1" dirty="0">
                <a:solidFill>
                  <a:srgbClr val="545354"/>
                </a:solidFill>
                <a:latin typeface="+mj-lt"/>
                <a:cs typeface="Poppins"/>
              </a:rPr>
              <a:t>Secondary data collection: </a:t>
            </a:r>
            <a:r>
              <a:rPr lang="en-US" sz="1100" dirty="0">
                <a:solidFill>
                  <a:srgbClr val="545354"/>
                </a:solidFill>
                <a:latin typeface="+mj-lt"/>
                <a:cs typeface="Poppins"/>
              </a:rPr>
              <a:t>Compile and analyze secondary data sources, including industry reports and </a:t>
            </a:r>
            <a:r>
              <a:rPr lang="en-US" sz="1100" dirty="0">
                <a:latin typeface="+mj-lt"/>
              </a:rPr>
              <a:t>relevant</a:t>
            </a:r>
            <a:r>
              <a:rPr lang="es-CO" sz="1100" dirty="0">
                <a:latin typeface="+mj-lt"/>
              </a:rPr>
              <a:t> </a:t>
            </a:r>
            <a:r>
              <a:rPr lang="en-US" sz="1100" dirty="0">
                <a:latin typeface="+mj-lt"/>
              </a:rPr>
              <a:t>publications</a:t>
            </a:r>
            <a:r>
              <a:rPr lang="en-US" sz="1100" dirty="0">
                <a:solidFill>
                  <a:srgbClr val="545354"/>
                </a:solidFill>
                <a:latin typeface="+mj-lt"/>
                <a:cs typeface="Poppins"/>
              </a:rPr>
              <a:t>, to identify emerging trends in consumer behavior and understand offerings from competitors and other players.</a:t>
            </a:r>
          </a:p>
          <a:p>
            <a:pPr marL="228600" indent="-228600">
              <a:spcBef>
                <a:spcPts val="600"/>
              </a:spcBef>
              <a:buFont typeface="+mj-lt"/>
              <a:buAutoNum type="arabicPeriod"/>
            </a:pPr>
            <a:r>
              <a:rPr lang="en-US" sz="1100" b="1" dirty="0">
                <a:solidFill>
                  <a:srgbClr val="545354"/>
                </a:solidFill>
                <a:latin typeface="+mj-lt"/>
                <a:cs typeface="Poppins"/>
              </a:rPr>
              <a:t>Market size estimates: </a:t>
            </a:r>
            <a:r>
              <a:rPr lang="en-US" sz="1100" dirty="0">
                <a:solidFill>
                  <a:srgbClr val="545354"/>
                </a:solidFill>
                <a:latin typeface="+mj-lt"/>
                <a:cs typeface="Poppins"/>
              </a:rPr>
              <a:t>create a model and estimate size of the opportunity by service, TAM and SAM by state, and market share of the target company. </a:t>
            </a:r>
            <a:endParaRPr lang="es-419" sz="1100" b="1" dirty="0">
              <a:solidFill>
                <a:srgbClr val="545354"/>
              </a:solidFill>
              <a:latin typeface="+mj-lt"/>
              <a:cs typeface="Poppins"/>
            </a:endParaRPr>
          </a:p>
        </p:txBody>
      </p:sp>
      <p:sp>
        <p:nvSpPr>
          <p:cNvPr id="23" name="CuadroTexto 60">
            <a:extLst>
              <a:ext uri="{FF2B5EF4-FFF2-40B4-BE49-F238E27FC236}">
                <a16:creationId xmlns:a16="http://schemas.microsoft.com/office/drawing/2014/main" id="{594335AA-3DF7-CF8E-2A35-0142895CC036}"/>
              </a:ext>
            </a:extLst>
          </p:cNvPr>
          <p:cNvSpPr txBox="1"/>
          <p:nvPr/>
        </p:nvSpPr>
        <p:spPr>
          <a:xfrm>
            <a:off x="1757514" y="808605"/>
            <a:ext cx="368180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solidFill>
                  <a:srgbClr val="FFFFFF"/>
                </a:solidFill>
                <a:effectLst/>
                <a:uLnTx/>
                <a:uFillTx/>
                <a:latin typeface="Poppins"/>
                <a:ea typeface="+mn-ea"/>
                <a:cs typeface="Poppins"/>
              </a:rPr>
              <a:t>Phase 1 – 3 weeks</a:t>
            </a:r>
            <a:endParaRPr kumimoji="0" lang="en-US" sz="1800" b="0" i="0" u="none" strike="noStrike" kern="1200" cap="none" spc="0" normalizeH="0" baseline="0" dirty="0">
              <a:ln>
                <a:noFill/>
              </a:ln>
              <a:solidFill>
                <a:srgbClr val="FFFFFF"/>
              </a:solidFill>
              <a:effectLst/>
              <a:uLnTx/>
              <a:uFillTx/>
              <a:latin typeface="Poppins"/>
              <a:ea typeface="+mn-ea"/>
              <a:cs typeface="Poppins"/>
            </a:endParaRPr>
          </a:p>
        </p:txBody>
      </p:sp>
      <p:sp>
        <p:nvSpPr>
          <p:cNvPr id="24" name="CuadroTexto 60">
            <a:extLst>
              <a:ext uri="{FF2B5EF4-FFF2-40B4-BE49-F238E27FC236}">
                <a16:creationId xmlns:a16="http://schemas.microsoft.com/office/drawing/2014/main" id="{75C32E1D-096F-C14E-7789-0F7B44956912}"/>
              </a:ext>
            </a:extLst>
          </p:cNvPr>
          <p:cNvSpPr txBox="1"/>
          <p:nvPr/>
        </p:nvSpPr>
        <p:spPr>
          <a:xfrm>
            <a:off x="7522260" y="801278"/>
            <a:ext cx="290064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solidFill>
                  <a:srgbClr val="FFFFFF"/>
                </a:solidFill>
                <a:effectLst/>
                <a:uLnTx/>
                <a:uFillTx/>
                <a:latin typeface="Poppins"/>
                <a:ea typeface="+mn-ea"/>
                <a:cs typeface="Poppins"/>
              </a:rPr>
              <a:t>Phase 2 – 2 weeks</a:t>
            </a:r>
            <a:endParaRPr kumimoji="0" lang="en-US" sz="1800" b="0" i="0" u="none" strike="noStrike" kern="1200" cap="none" spc="0" normalizeH="0" baseline="0" dirty="0">
              <a:ln>
                <a:noFill/>
              </a:ln>
              <a:solidFill>
                <a:srgbClr val="FFFFFF"/>
              </a:solidFill>
              <a:effectLst/>
              <a:uLnTx/>
              <a:uFillTx/>
              <a:latin typeface="Poppins"/>
              <a:ea typeface="+mn-ea"/>
              <a:cs typeface="Poppins"/>
            </a:endParaRPr>
          </a:p>
        </p:txBody>
      </p:sp>
      <p:cxnSp>
        <p:nvCxnSpPr>
          <p:cNvPr id="25" name="Straight Connector 46">
            <a:extLst>
              <a:ext uri="{FF2B5EF4-FFF2-40B4-BE49-F238E27FC236}">
                <a16:creationId xmlns:a16="http://schemas.microsoft.com/office/drawing/2014/main" id="{82D48592-FCD9-86AF-9A4D-98CD5D2927FE}"/>
              </a:ext>
            </a:extLst>
          </p:cNvPr>
          <p:cNvCxnSpPr>
            <a:cxnSpLocks/>
            <a:stCxn id="4" idx="4"/>
          </p:cNvCxnSpPr>
          <p:nvPr/>
        </p:nvCxnSpPr>
        <p:spPr>
          <a:xfrm flipH="1">
            <a:off x="6271054" y="916808"/>
            <a:ext cx="1" cy="5521337"/>
          </a:xfrm>
          <a:prstGeom prst="line">
            <a:avLst/>
          </a:prstGeom>
          <a:ln>
            <a:solidFill>
              <a:schemeClr val="tx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Oval 52">
            <a:extLst>
              <a:ext uri="{FF2B5EF4-FFF2-40B4-BE49-F238E27FC236}">
                <a16:creationId xmlns:a16="http://schemas.microsoft.com/office/drawing/2014/main" id="{5D2455F6-66AA-E41C-58FA-1830342EB00C}"/>
              </a:ext>
            </a:extLst>
          </p:cNvPr>
          <p:cNvSpPr/>
          <p:nvPr/>
        </p:nvSpPr>
        <p:spPr>
          <a:xfrm>
            <a:off x="1345136" y="690215"/>
            <a:ext cx="395004" cy="39500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27" name="Picture 51" descr="A purple arrow and dollar sign&#10;&#10;Description automatically generated with medium confidence">
            <a:extLst>
              <a:ext uri="{FF2B5EF4-FFF2-40B4-BE49-F238E27FC236}">
                <a16:creationId xmlns:a16="http://schemas.microsoft.com/office/drawing/2014/main" id="{845DB089-235E-F9EF-33DE-9AA5425721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84772" y="537700"/>
            <a:ext cx="311845" cy="504697"/>
          </a:xfrm>
          <a:prstGeom prst="rect">
            <a:avLst/>
          </a:prstGeom>
        </p:spPr>
      </p:pic>
      <p:sp>
        <p:nvSpPr>
          <p:cNvPr id="28" name="Oval 53">
            <a:extLst>
              <a:ext uri="{FF2B5EF4-FFF2-40B4-BE49-F238E27FC236}">
                <a16:creationId xmlns:a16="http://schemas.microsoft.com/office/drawing/2014/main" id="{9BA59F76-EE84-F435-C266-1723B73BB617}"/>
              </a:ext>
            </a:extLst>
          </p:cNvPr>
          <p:cNvSpPr/>
          <p:nvPr/>
        </p:nvSpPr>
        <p:spPr>
          <a:xfrm>
            <a:off x="7066815" y="707472"/>
            <a:ext cx="395004" cy="39500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29" name="Picture 56" descr="A dollar sign on a black background&#10;&#10;Description automatically generated">
            <a:extLst>
              <a:ext uri="{FF2B5EF4-FFF2-40B4-BE49-F238E27FC236}">
                <a16:creationId xmlns:a16="http://schemas.microsoft.com/office/drawing/2014/main" id="{2540B80D-A6D0-8F8B-39C6-0680F6AC885E}"/>
              </a:ext>
            </a:extLst>
          </p:cNvPr>
          <p:cNvPicPr>
            <a:picLocks noChangeAspect="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7125493" y="537700"/>
            <a:ext cx="300167" cy="531694"/>
          </a:xfrm>
          <a:prstGeom prst="rect">
            <a:avLst/>
          </a:prstGeom>
        </p:spPr>
      </p:pic>
      <p:sp>
        <p:nvSpPr>
          <p:cNvPr id="49" name="object 7">
            <a:extLst>
              <a:ext uri="{FF2B5EF4-FFF2-40B4-BE49-F238E27FC236}">
                <a16:creationId xmlns:a16="http://schemas.microsoft.com/office/drawing/2014/main" id="{D7EEAEA9-38B6-355F-4F91-E314DF217F27}"/>
              </a:ext>
            </a:extLst>
          </p:cNvPr>
          <p:cNvSpPr txBox="1">
            <a:spLocks/>
          </p:cNvSpPr>
          <p:nvPr/>
        </p:nvSpPr>
        <p:spPr>
          <a:xfrm>
            <a:off x="1093214" y="301642"/>
            <a:ext cx="10550013" cy="351885"/>
          </a:xfrm>
          <a:prstGeom prst="rect">
            <a:avLst/>
          </a:prstGeom>
        </p:spPr>
        <p:txBody>
          <a:bodyPr vert="horz" wrap="square" lIns="0" tIns="71622"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472C9B"/>
                </a:solidFill>
                <a:effectLst/>
                <a:uLnTx/>
                <a:uFillTx/>
                <a:latin typeface="Poppins"/>
                <a:ea typeface="+mj-ea"/>
                <a:cs typeface="Poppins Medium"/>
              </a:rPr>
              <a:t>Proposed Timeline: 5 </a:t>
            </a:r>
            <a:r>
              <a:rPr lang="en-US" sz="2000" dirty="0">
                <a:solidFill>
                  <a:srgbClr val="472C9B"/>
                </a:solidFill>
                <a:latin typeface="Poppins"/>
                <a:cs typeface="Poppins Medium"/>
              </a:rPr>
              <a:t>w</a:t>
            </a:r>
            <a:r>
              <a:rPr kumimoji="0" lang="en-US" sz="2000" b="0" i="0" u="none" strike="noStrike" kern="1200" cap="none" spc="0" normalizeH="0" baseline="0" noProof="0" dirty="0">
                <a:ln>
                  <a:noFill/>
                </a:ln>
                <a:solidFill>
                  <a:srgbClr val="472C9B"/>
                </a:solidFill>
                <a:effectLst/>
                <a:uLnTx/>
                <a:uFillTx/>
                <a:latin typeface="Poppins"/>
                <a:ea typeface="+mj-ea"/>
                <a:cs typeface="Poppins Medium"/>
              </a:rPr>
              <a:t>eeks divided into 2 main </a:t>
            </a:r>
            <a:r>
              <a:rPr lang="en-US" sz="2000" dirty="0">
                <a:solidFill>
                  <a:srgbClr val="472C9B"/>
                </a:solidFill>
                <a:latin typeface="Poppins"/>
                <a:cs typeface="Poppins Medium"/>
              </a:rPr>
              <a:t>phases</a:t>
            </a:r>
            <a:endParaRPr kumimoji="0" lang="en-US" sz="2000" b="0" i="0" u="none" strike="noStrike" kern="1200" cap="none" spc="0" normalizeH="0" baseline="0" noProof="0" dirty="0">
              <a:ln>
                <a:noFill/>
              </a:ln>
              <a:solidFill>
                <a:srgbClr val="472C9B"/>
              </a:solidFill>
              <a:effectLst/>
              <a:uLnTx/>
              <a:uFillTx/>
              <a:latin typeface="Poppins"/>
              <a:ea typeface="+mj-ea"/>
              <a:cs typeface="Poppins Medium"/>
            </a:endParaRPr>
          </a:p>
        </p:txBody>
      </p:sp>
      <p:sp>
        <p:nvSpPr>
          <p:cNvPr id="52" name="Rectángulo 51">
            <a:extLst>
              <a:ext uri="{FF2B5EF4-FFF2-40B4-BE49-F238E27FC236}">
                <a16:creationId xmlns:a16="http://schemas.microsoft.com/office/drawing/2014/main" id="{C9515763-40B5-0DBE-B16E-FA0AFD0185B8}"/>
              </a:ext>
            </a:extLst>
          </p:cNvPr>
          <p:cNvSpPr/>
          <p:nvPr/>
        </p:nvSpPr>
        <p:spPr>
          <a:xfrm>
            <a:off x="1592885" y="3512440"/>
            <a:ext cx="10523120" cy="3161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s-CO" sz="1400" b="1" dirty="0">
                <a:solidFill>
                  <a:srgbClr val="FFFFFF"/>
                </a:solidFill>
                <a:latin typeface="Poppins Light"/>
              </a:rPr>
              <a:t>Execution details</a:t>
            </a:r>
          </a:p>
        </p:txBody>
      </p:sp>
      <p:sp>
        <p:nvSpPr>
          <p:cNvPr id="53" name="Gráfico 64">
            <a:extLst>
              <a:ext uri="{FF2B5EF4-FFF2-40B4-BE49-F238E27FC236}">
                <a16:creationId xmlns:a16="http://schemas.microsoft.com/office/drawing/2014/main" id="{4E8CBE4D-5CD5-8567-2535-6C9420743826}"/>
              </a:ext>
            </a:extLst>
          </p:cNvPr>
          <p:cNvSpPr/>
          <p:nvPr/>
        </p:nvSpPr>
        <p:spPr>
          <a:xfrm>
            <a:off x="1282232" y="1808496"/>
            <a:ext cx="9790330" cy="303712"/>
          </a:xfrm>
          <a:prstGeom prst="homePlate">
            <a:avLst/>
          </a:prstGeom>
          <a:solidFill>
            <a:srgbClr val="442E9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4" name="Rectángulo 53">
            <a:extLst>
              <a:ext uri="{FF2B5EF4-FFF2-40B4-BE49-F238E27FC236}">
                <a16:creationId xmlns:a16="http://schemas.microsoft.com/office/drawing/2014/main" id="{45944AC8-71EE-3EE6-B3F7-6480135ADDED}"/>
              </a:ext>
            </a:extLst>
          </p:cNvPr>
          <p:cNvSpPr/>
          <p:nvPr/>
        </p:nvSpPr>
        <p:spPr>
          <a:xfrm>
            <a:off x="1539174" y="1822792"/>
            <a:ext cx="10576831" cy="2813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Poppins Light"/>
                <a:ea typeface="+mn-ea"/>
                <a:cs typeface="+mn-cs"/>
              </a:rPr>
              <a:t>Objective by phase</a:t>
            </a:r>
          </a:p>
        </p:txBody>
      </p:sp>
      <p:sp>
        <p:nvSpPr>
          <p:cNvPr id="56" name="CuadroTexto 55">
            <a:extLst>
              <a:ext uri="{FF2B5EF4-FFF2-40B4-BE49-F238E27FC236}">
                <a16:creationId xmlns:a16="http://schemas.microsoft.com/office/drawing/2014/main" id="{2BE04439-6DC8-B393-86BB-996CD0185072}"/>
              </a:ext>
            </a:extLst>
          </p:cNvPr>
          <p:cNvSpPr txBox="1"/>
          <p:nvPr/>
        </p:nvSpPr>
        <p:spPr>
          <a:xfrm>
            <a:off x="1260644" y="1289354"/>
            <a:ext cx="4705123" cy="261610"/>
          </a:xfrm>
          <a:prstGeom prst="rect">
            <a:avLst/>
          </a:prstGeom>
          <a:noFill/>
        </p:spPr>
        <p:txBody>
          <a:bodyPr wrap="square">
            <a:spAutoFit/>
          </a:bodyPr>
          <a:lstStyle/>
          <a:p>
            <a:pPr marL="171450" indent="-171450">
              <a:buFont typeface="Arial" panose="020B0604020202020204" pitchFamily="34" charset="0"/>
              <a:buChar char="•"/>
            </a:pPr>
            <a:r>
              <a:rPr lang="en-US" sz="1100" dirty="0">
                <a:solidFill>
                  <a:srgbClr val="545354"/>
                </a:solidFill>
                <a:latin typeface="+mj-lt"/>
                <a:cs typeface="Poppins"/>
              </a:rPr>
              <a:t>Comprehensive analysis of market and client needs,.</a:t>
            </a:r>
            <a:endParaRPr lang="es-CO" sz="1100" dirty="0">
              <a:solidFill>
                <a:srgbClr val="545354"/>
              </a:solidFill>
              <a:latin typeface="+mj-lt"/>
              <a:cs typeface="Poppins"/>
            </a:endParaRPr>
          </a:p>
        </p:txBody>
      </p:sp>
      <p:sp>
        <p:nvSpPr>
          <p:cNvPr id="57" name="CuadroTexto 56">
            <a:extLst>
              <a:ext uri="{FF2B5EF4-FFF2-40B4-BE49-F238E27FC236}">
                <a16:creationId xmlns:a16="http://schemas.microsoft.com/office/drawing/2014/main" id="{AC5CBBD5-C656-D280-D8C7-2B2A74CB8D0D}"/>
              </a:ext>
            </a:extLst>
          </p:cNvPr>
          <p:cNvSpPr txBox="1"/>
          <p:nvPr/>
        </p:nvSpPr>
        <p:spPr>
          <a:xfrm>
            <a:off x="6485564" y="1290763"/>
            <a:ext cx="4705123" cy="430887"/>
          </a:xfrm>
          <a:prstGeom prst="rect">
            <a:avLst/>
          </a:prstGeom>
          <a:noFill/>
        </p:spPr>
        <p:txBody>
          <a:bodyPr wrap="square">
            <a:spAutoFit/>
          </a:bodyPr>
          <a:lstStyle/>
          <a:p>
            <a:pPr marL="171450" indent="-171450">
              <a:buFont typeface="Arial" panose="020B0604020202020204" pitchFamily="34" charset="0"/>
              <a:buChar char="•"/>
            </a:pPr>
            <a:r>
              <a:rPr lang="en-US" sz="1100" dirty="0">
                <a:solidFill>
                  <a:srgbClr val="545354"/>
                </a:solidFill>
                <a:latin typeface="+mj-lt"/>
                <a:cs typeface="Poppins"/>
              </a:rPr>
              <a:t>Identify strategic adjacencies and opportunities to use target as a springboard to offer additional services.</a:t>
            </a:r>
            <a:endParaRPr lang="es-CO" sz="1100" dirty="0">
              <a:solidFill>
                <a:srgbClr val="545354"/>
              </a:solidFill>
              <a:latin typeface="+mj-lt"/>
              <a:cs typeface="Poppins"/>
            </a:endParaRPr>
          </a:p>
        </p:txBody>
      </p:sp>
    </p:spTree>
    <p:extLst>
      <p:ext uri="{BB962C8B-B14F-4D97-AF65-F5344CB8AC3E}">
        <p14:creationId xmlns:p14="http://schemas.microsoft.com/office/powerpoint/2010/main" val="4138946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ángulo 254">
            <a:extLst>
              <a:ext uri="{FF2B5EF4-FFF2-40B4-BE49-F238E27FC236}">
                <a16:creationId xmlns:a16="http://schemas.microsoft.com/office/drawing/2014/main" id="{BF801C84-8C0C-F330-D65F-9CB048C643ED}"/>
              </a:ext>
            </a:extLst>
          </p:cNvPr>
          <p:cNvSpPr/>
          <p:nvPr/>
        </p:nvSpPr>
        <p:spPr>
          <a:xfrm>
            <a:off x="-20573" y="-77821"/>
            <a:ext cx="4008938" cy="5461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50" name="bg object 16">
            <a:extLst>
              <a:ext uri="{FF2B5EF4-FFF2-40B4-BE49-F238E27FC236}">
                <a16:creationId xmlns:a16="http://schemas.microsoft.com/office/drawing/2014/main" id="{B2B6884F-5F3A-E0D1-E0AC-5852BF5DAE2C}"/>
              </a:ext>
            </a:extLst>
          </p:cNvPr>
          <p:cNvSpPr/>
          <p:nvPr/>
        </p:nvSpPr>
        <p:spPr>
          <a:xfrm>
            <a:off x="8541072" y="-12028"/>
            <a:ext cx="3672148" cy="1353956"/>
          </a:xfrm>
          <a:custGeom>
            <a:avLst/>
            <a:gdLst/>
            <a:ahLst/>
            <a:cxnLst/>
            <a:rect l="l" t="t" r="r" b="b"/>
            <a:pathLst>
              <a:path w="3664584" h="1221739">
                <a:moveTo>
                  <a:pt x="0" y="1221460"/>
                </a:moveTo>
                <a:lnTo>
                  <a:pt x="3664381" y="1221460"/>
                </a:lnTo>
                <a:lnTo>
                  <a:pt x="3664381" y="0"/>
                </a:lnTo>
                <a:lnTo>
                  <a:pt x="0" y="0"/>
                </a:lnTo>
                <a:lnTo>
                  <a:pt x="0" y="1221460"/>
                </a:lnTo>
                <a:close/>
              </a:path>
            </a:pathLst>
          </a:custGeom>
          <a:solidFill>
            <a:srgbClr val="8A88C7"/>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3" name="bg object 19">
            <a:extLst>
              <a:ext uri="{FF2B5EF4-FFF2-40B4-BE49-F238E27FC236}">
                <a16:creationId xmlns:a16="http://schemas.microsoft.com/office/drawing/2014/main" id="{795E4931-AE54-AEC7-628B-40C432ED2CD7}"/>
              </a:ext>
            </a:extLst>
          </p:cNvPr>
          <p:cNvSpPr/>
          <p:nvPr/>
        </p:nvSpPr>
        <p:spPr>
          <a:xfrm>
            <a:off x="3596970" y="-91826"/>
            <a:ext cx="4944101" cy="5550489"/>
          </a:xfrm>
          <a:custGeom>
            <a:avLst/>
            <a:gdLst/>
            <a:ahLst/>
            <a:cxnLst/>
            <a:rect l="l" t="t" r="r" b="b"/>
            <a:pathLst>
              <a:path w="8183880" h="2945765">
                <a:moveTo>
                  <a:pt x="8183270" y="0"/>
                </a:moveTo>
                <a:lnTo>
                  <a:pt x="0" y="0"/>
                </a:lnTo>
                <a:lnTo>
                  <a:pt x="0" y="2945485"/>
                </a:lnTo>
                <a:lnTo>
                  <a:pt x="8183270" y="2945485"/>
                </a:lnTo>
                <a:lnTo>
                  <a:pt x="8183270" y="0"/>
                </a:lnTo>
                <a:close/>
              </a:path>
            </a:pathLst>
          </a:custGeom>
          <a:solidFill>
            <a:srgbClr val="8980F6"/>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4" name="bg object 20">
            <a:extLst>
              <a:ext uri="{FF2B5EF4-FFF2-40B4-BE49-F238E27FC236}">
                <a16:creationId xmlns:a16="http://schemas.microsoft.com/office/drawing/2014/main" id="{87300C3D-5135-1B2B-0EDC-2E9D4111661B}"/>
              </a:ext>
            </a:extLst>
          </p:cNvPr>
          <p:cNvSpPr/>
          <p:nvPr/>
        </p:nvSpPr>
        <p:spPr>
          <a:xfrm>
            <a:off x="-20572" y="5383407"/>
            <a:ext cx="8561644" cy="1623830"/>
          </a:xfrm>
          <a:custGeom>
            <a:avLst/>
            <a:gdLst/>
            <a:ahLst/>
            <a:cxnLst/>
            <a:rect l="l" t="t" r="r" b="b"/>
            <a:pathLst>
              <a:path w="12193270" h="1400175">
                <a:moveTo>
                  <a:pt x="12193206" y="0"/>
                </a:moveTo>
                <a:lnTo>
                  <a:pt x="0" y="0"/>
                </a:lnTo>
                <a:lnTo>
                  <a:pt x="0" y="1399616"/>
                </a:lnTo>
                <a:lnTo>
                  <a:pt x="12193206" y="1399616"/>
                </a:lnTo>
                <a:lnTo>
                  <a:pt x="12193206" y="0"/>
                </a:lnTo>
                <a:close/>
              </a:path>
            </a:pathLst>
          </a:custGeom>
          <a:solidFill>
            <a:srgbClr val="412E91"/>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192" name="object 2">
            <a:extLst>
              <a:ext uri="{FF2B5EF4-FFF2-40B4-BE49-F238E27FC236}">
                <a16:creationId xmlns:a16="http://schemas.microsoft.com/office/drawing/2014/main" id="{AB358DD3-4D52-0F22-8DE3-EC16CA46AF2B}"/>
              </a:ext>
            </a:extLst>
          </p:cNvPr>
          <p:cNvSpPr txBox="1"/>
          <p:nvPr/>
        </p:nvSpPr>
        <p:spPr>
          <a:xfrm>
            <a:off x="918477" y="1191102"/>
            <a:ext cx="1255503" cy="382797"/>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s-ES" sz="2400" b="1" i="0" u="none" strike="noStrike" kern="1200" cap="none" spc="0" normalizeH="0" baseline="0" noProof="0" dirty="0">
                <a:ln>
                  <a:noFill/>
                </a:ln>
                <a:solidFill>
                  <a:srgbClr val="8980F6"/>
                </a:solidFill>
                <a:effectLst/>
                <a:uLnTx/>
                <a:uFillTx/>
                <a:latin typeface="Poppins" pitchFamily="2" charset="77"/>
                <a:ea typeface="+mn-ea"/>
                <a:cs typeface="Poppins" pitchFamily="2" charset="77"/>
              </a:rPr>
              <a:t>PHASE</a:t>
            </a:r>
            <a:endParaRPr kumimoji="0" lang="es-CO" sz="2400" b="1" i="0" u="none" strike="noStrike" kern="1200" cap="none" spc="0" normalizeH="0" baseline="0" noProof="0" dirty="0">
              <a:ln>
                <a:noFill/>
              </a:ln>
              <a:solidFill>
                <a:srgbClr val="545354"/>
              </a:solidFill>
              <a:effectLst/>
              <a:uLnTx/>
              <a:uFillTx/>
              <a:latin typeface="Poppins" pitchFamily="2" charset="77"/>
              <a:ea typeface="+mn-ea"/>
              <a:cs typeface="Poppins" pitchFamily="2" charset="77"/>
            </a:endParaRPr>
          </a:p>
        </p:txBody>
      </p:sp>
      <p:sp>
        <p:nvSpPr>
          <p:cNvPr id="193" name="object 3">
            <a:extLst>
              <a:ext uri="{FF2B5EF4-FFF2-40B4-BE49-F238E27FC236}">
                <a16:creationId xmlns:a16="http://schemas.microsoft.com/office/drawing/2014/main" id="{1EE053BD-7733-BC77-6A21-F24185BC521C}"/>
              </a:ext>
            </a:extLst>
          </p:cNvPr>
          <p:cNvSpPr txBox="1"/>
          <p:nvPr/>
        </p:nvSpPr>
        <p:spPr>
          <a:xfrm>
            <a:off x="350681" y="1643045"/>
            <a:ext cx="3432143" cy="764312"/>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dirty="0" err="1">
                <a:ln>
                  <a:noFill/>
                </a:ln>
                <a:solidFill>
                  <a:srgbClr val="535353"/>
                </a:solidFill>
                <a:effectLst/>
                <a:uLnTx/>
                <a:uFillTx/>
                <a:latin typeface="Poppins Medium" pitchFamily="2" charset="77"/>
                <a:ea typeface="+mn-ea"/>
                <a:cs typeface="Poppins Medium" pitchFamily="2" charset="77"/>
              </a:rPr>
              <a:t>Market</a:t>
            </a:r>
            <a:r>
              <a:rPr kumimoji="0" lang="es-CO"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a:t>
            </a:r>
            <a:r>
              <a:rPr lang="es-CO" sz="1200" dirty="0">
                <a:solidFill>
                  <a:srgbClr val="535353"/>
                </a:solidFill>
                <a:latin typeface="Poppins Medium" pitchFamily="2" charset="77"/>
                <a:cs typeface="Poppins Medium" pitchFamily="2" charset="77"/>
              </a:rPr>
              <a:t>size analysis</a:t>
            </a:r>
            <a:r>
              <a:rPr kumimoji="0" lang="es-CO"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419"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419"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Duration: </a:t>
            </a:r>
            <a:r>
              <a:rPr lang="es-419" sz="1200" dirty="0">
                <a:solidFill>
                  <a:srgbClr val="535353"/>
                </a:solidFill>
                <a:latin typeface="Poppins Medium" pitchFamily="2" charset="77"/>
                <a:cs typeface="Poppins Medium" pitchFamily="2" charset="77"/>
              </a:rPr>
              <a:t>2</a:t>
            </a:r>
            <a:r>
              <a:rPr kumimoji="0" lang="es-419"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weeks.</a:t>
            </a:r>
          </a:p>
          <a:p>
            <a:pPr marL="12700" marR="5080" lvl="0" indent="0" algn="l" defTabSz="914400" rtl="0" eaLnBrk="1" fontAlgn="auto" latinLnBrk="0" hangingPunct="1">
              <a:lnSpc>
                <a:spcPct val="100000"/>
              </a:lnSpc>
              <a:spcBef>
                <a:spcPts val="10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Medium" pitchFamily="2" charset="77"/>
              <a:ea typeface="+mn-ea"/>
              <a:cs typeface="Poppins Medium" pitchFamily="2" charset="77"/>
            </a:endParaRPr>
          </a:p>
        </p:txBody>
      </p:sp>
      <p:sp>
        <p:nvSpPr>
          <p:cNvPr id="195" name="object 5">
            <a:extLst>
              <a:ext uri="{FF2B5EF4-FFF2-40B4-BE49-F238E27FC236}">
                <a16:creationId xmlns:a16="http://schemas.microsoft.com/office/drawing/2014/main" id="{BDA64AEE-7204-6E8E-5A04-E0380B31472E}"/>
              </a:ext>
            </a:extLst>
          </p:cNvPr>
          <p:cNvSpPr txBox="1"/>
          <p:nvPr/>
        </p:nvSpPr>
        <p:spPr>
          <a:xfrm>
            <a:off x="4183010" y="339483"/>
            <a:ext cx="4209027" cy="295466"/>
          </a:xfrm>
          <a:prstGeom prst="rect">
            <a:avLst/>
          </a:prstGeom>
        </p:spPr>
        <p:txBody>
          <a:bodyPr vert="horz" wrap="square" lIns="0" tIns="38100" rIns="0" bIns="0" rtlCol="0">
            <a:spAutoFit/>
          </a:bodyPr>
          <a:lstStyle/>
          <a:p>
            <a:pPr marL="12700" marR="5080" lvl="0" indent="0" algn="l" defTabSz="914400" rtl="0" eaLnBrk="1" fontAlgn="auto" latinLnBrk="0" hangingPunct="1">
              <a:lnSpc>
                <a:spcPts val="2000"/>
              </a:lnSpc>
              <a:spcBef>
                <a:spcPts val="300"/>
              </a:spcBef>
              <a:spcAft>
                <a:spcPts val="0"/>
              </a:spcAft>
              <a:buClrTx/>
              <a:buSzTx/>
              <a:buFontTx/>
              <a:buNone/>
              <a:tabLst/>
              <a:defRPr/>
            </a:pPr>
            <a:r>
              <a:rPr kumimoji="0" lang="es-CO" sz="1800" b="1" i="0" u="none" strike="noStrike" kern="1200" cap="none" spc="0" normalizeH="0" baseline="0" noProof="0" dirty="0">
                <a:ln>
                  <a:noFill/>
                </a:ln>
                <a:solidFill>
                  <a:srgbClr val="412E91"/>
                </a:solidFill>
                <a:effectLst/>
                <a:uLnTx/>
                <a:uFillTx/>
                <a:latin typeface="Poppins" pitchFamily="2" charset="77"/>
                <a:ea typeface="+mn-ea"/>
                <a:cs typeface="Poppins" pitchFamily="2" charset="77"/>
              </a:rPr>
              <a:t>Action details</a:t>
            </a:r>
            <a:endParaRPr kumimoji="0" lang="es-CO" sz="1800" b="0" i="0" u="none" strike="noStrike" kern="1200" cap="none" spc="0" normalizeH="0" baseline="0" noProof="0" dirty="0">
              <a:ln>
                <a:noFill/>
              </a:ln>
              <a:solidFill>
                <a:srgbClr val="412E91"/>
              </a:solidFill>
              <a:effectLst/>
              <a:uLnTx/>
              <a:uFillTx/>
              <a:latin typeface="Poppins" pitchFamily="2" charset="77"/>
              <a:ea typeface="+mn-ea"/>
              <a:cs typeface="Poppins" pitchFamily="2" charset="77"/>
            </a:endParaRPr>
          </a:p>
        </p:txBody>
      </p:sp>
      <p:sp>
        <p:nvSpPr>
          <p:cNvPr id="199" name="object 9">
            <a:extLst>
              <a:ext uri="{FF2B5EF4-FFF2-40B4-BE49-F238E27FC236}">
                <a16:creationId xmlns:a16="http://schemas.microsoft.com/office/drawing/2014/main" id="{B158BF8A-EB5E-D813-1DD2-A48931D7125D}"/>
              </a:ext>
            </a:extLst>
          </p:cNvPr>
          <p:cNvSpPr txBox="1"/>
          <p:nvPr/>
        </p:nvSpPr>
        <p:spPr>
          <a:xfrm>
            <a:off x="1364918" y="6201204"/>
            <a:ext cx="6692154" cy="382156"/>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Comprehend the market size to determine the current and potential market opportunities to strategically position </a:t>
            </a:r>
            <a:r>
              <a:rPr kumimoji="0" lang="en-US" sz="1200" b="0" i="0" u="none" strike="noStrike" kern="100" cap="none" spc="0" normalizeH="0" baseline="0" noProof="0" dirty="0" err="1">
                <a:ln>
                  <a:noFill/>
                </a:ln>
                <a:solidFill>
                  <a:srgbClr val="FFFFFF"/>
                </a:solidFill>
                <a:effectLst/>
                <a:uLnTx/>
                <a:uFillTx/>
                <a:latin typeface="Poppins"/>
                <a:ea typeface="Calibri" panose="020F0502020204030204" pitchFamily="34" charset="0"/>
                <a:cs typeface="Poppins Medium" pitchFamily="2" charset="77"/>
              </a:rPr>
              <a:t>Odevo</a:t>
            </a: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 for growth and expansion.</a:t>
            </a:r>
            <a:endParaRPr kumimoji="0" lang="es-419"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endParaRPr>
          </a:p>
        </p:txBody>
      </p:sp>
      <p:sp>
        <p:nvSpPr>
          <p:cNvPr id="200" name="object 10">
            <a:extLst>
              <a:ext uri="{FF2B5EF4-FFF2-40B4-BE49-F238E27FC236}">
                <a16:creationId xmlns:a16="http://schemas.microsoft.com/office/drawing/2014/main" id="{8C6AA9F5-FF9D-D505-3D6B-9A7D7F371F29}"/>
              </a:ext>
            </a:extLst>
          </p:cNvPr>
          <p:cNvSpPr txBox="1"/>
          <p:nvPr/>
        </p:nvSpPr>
        <p:spPr>
          <a:xfrm>
            <a:off x="8727428" y="53816"/>
            <a:ext cx="3336757" cy="894476"/>
          </a:xfrm>
          <a:prstGeom prst="rect">
            <a:avLst/>
          </a:prstGeom>
        </p:spPr>
        <p:txBody>
          <a:bodyPr vert="horz" wrap="square" lIns="0" tIns="154305"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Deliverable – Summary of understanding and analysis of expert opinion</a:t>
            </a:r>
            <a:endParaRPr kumimoji="0" lang="es-CO" sz="16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endParaRPr>
          </a:p>
        </p:txBody>
      </p:sp>
      <p:sp>
        <p:nvSpPr>
          <p:cNvPr id="208" name="object 18">
            <a:extLst>
              <a:ext uri="{FF2B5EF4-FFF2-40B4-BE49-F238E27FC236}">
                <a16:creationId xmlns:a16="http://schemas.microsoft.com/office/drawing/2014/main" id="{DA81DA77-AF07-3822-A60C-F2F45DDD23F6}"/>
              </a:ext>
            </a:extLst>
          </p:cNvPr>
          <p:cNvSpPr txBox="1"/>
          <p:nvPr/>
        </p:nvSpPr>
        <p:spPr>
          <a:xfrm>
            <a:off x="3930429" y="724607"/>
            <a:ext cx="4461608" cy="479105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300"/>
              </a:spcBef>
              <a:spcAft>
                <a:spcPts val="0"/>
              </a:spcAft>
              <a:buClrTx/>
              <a:buSzTx/>
              <a:buFontTx/>
              <a:buNone/>
              <a:tabLst/>
              <a:defRPr/>
            </a:pPr>
            <a:r>
              <a:rPr kumimoji="0" lang="es-419" sz="1050" b="1" i="0" u="none" strike="noStrike" kern="100" cap="none" spc="0" normalizeH="0" baseline="0" noProof="0" dirty="0">
                <a:ln>
                  <a:noFill/>
                </a:ln>
                <a:solidFill>
                  <a:srgbClr val="FFFFFF"/>
                </a:solidFill>
                <a:effectLst/>
                <a:uLnTx/>
                <a:uFillTx/>
                <a:latin typeface="Poppins"/>
                <a:ea typeface="Calibri"/>
                <a:cs typeface="Poppins ExtraLight"/>
              </a:rPr>
              <a:t>25 EXPERT INTERVIEWS</a:t>
            </a:r>
            <a:r>
              <a:rPr lang="es-419" sz="1050" b="1" kern="100" dirty="0">
                <a:solidFill>
                  <a:srgbClr val="FFFFFF"/>
                </a:solidFill>
                <a:latin typeface="Poppins"/>
                <a:ea typeface="Calibri"/>
                <a:cs typeface="Poppins ExtraLight"/>
              </a:rPr>
              <a:t>:</a:t>
            </a:r>
            <a:endParaRPr kumimoji="0" lang="es-419" sz="1050" b="1" i="0" u="none" strike="noStrike" kern="100" cap="none" spc="0" normalizeH="0" baseline="0" noProof="0" dirty="0">
              <a:ln>
                <a:noFill/>
              </a:ln>
              <a:solidFill>
                <a:srgbClr val="FFFFFF"/>
              </a:solidFill>
              <a:effectLst/>
              <a:uLnTx/>
              <a:uFillTx/>
              <a:latin typeface="Poppins"/>
              <a:ea typeface="Calibri"/>
              <a:cs typeface="Poppins ExtraLight"/>
            </a:endParaRP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Virtual video conference</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Duration: </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1 hour</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Profile: </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Qualified experts with extensive experience in residential property management, services and</a:t>
            </a:r>
            <a:r>
              <a:rPr lang="en-US" sz="1050" kern="100" dirty="0">
                <a:solidFill>
                  <a:srgbClr val="FFFFFF"/>
                </a:solidFill>
                <a:latin typeface="Poppins"/>
                <a:ea typeface="Calibri"/>
                <a:cs typeface="Poppins ExtraLight"/>
              </a:rPr>
              <a:t> general</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 real estate trends for large developments above 2k units. Gain deep knowledge of market dynamics, client needs, and competitive strategies.  Specialists are senior executives and thought leaders with a proven track record in market trends and innovation within the sector. </a:t>
            </a:r>
          </a:p>
          <a:p>
            <a:pPr marL="12700" marR="5080" lvl="0" indent="0" algn="l" defTabSz="914400" rtl="0" eaLnBrk="1" fontAlgn="auto" latinLnBrk="0" hangingPunct="1">
              <a:lnSpc>
                <a:spcPct val="100000"/>
              </a:lnSpc>
              <a:spcBef>
                <a:spcPts val="300"/>
              </a:spcBef>
              <a:spcAft>
                <a:spcPts val="0"/>
              </a:spcAft>
              <a:buClrTx/>
              <a:buSzTx/>
              <a:buFontTx/>
              <a:buNone/>
              <a:tabLst/>
              <a:defRPr/>
            </a:pPr>
            <a:r>
              <a:rPr kumimoji="0" lang="en-US" sz="1050" b="0" i="0" u="sng" strike="noStrike" kern="100" cap="none" spc="0" normalizeH="0" baseline="0" noProof="0" dirty="0">
                <a:ln>
                  <a:noFill/>
                </a:ln>
                <a:solidFill>
                  <a:srgbClr val="FFFFFF"/>
                </a:solidFill>
                <a:effectLst/>
                <a:uLnTx/>
                <a:uFillTx/>
                <a:latin typeface="Poppins"/>
                <a:ea typeface="Calibri"/>
                <a:cs typeface="Poppins ExtraLight"/>
              </a:rPr>
              <a:t>Main Topics</a:t>
            </a:r>
            <a:r>
              <a:rPr kumimoji="0" lang="es-419" sz="1050" b="0" i="0" u="sng" strike="noStrike" kern="100" cap="none" spc="0" normalizeH="0" baseline="0" noProof="0" dirty="0">
                <a:ln>
                  <a:noFill/>
                </a:ln>
                <a:solidFill>
                  <a:srgbClr val="FFFFFF"/>
                </a:solidFill>
                <a:effectLst/>
                <a:uLnTx/>
                <a:uFillTx/>
                <a:latin typeface="Poppins"/>
                <a:ea typeface="Calibri"/>
                <a:cs typeface="Poppins ExtraLight"/>
              </a:rPr>
              <a:t>: </a:t>
            </a:r>
            <a:endParaRPr kumimoji="0" lang="en-US" sz="1050" b="0" i="0" u="sng" strike="noStrike" kern="100" cap="none" spc="0" normalizeH="0" baseline="0" noProof="0" dirty="0">
              <a:ln>
                <a:noFill/>
              </a:ln>
              <a:solidFill>
                <a:srgbClr val="FFFFFF"/>
              </a:solidFill>
              <a:effectLst/>
              <a:uLnTx/>
              <a:uFillTx/>
              <a:latin typeface="Poppins"/>
              <a:ea typeface="Calibri"/>
              <a:cs typeface="Poppins ExtraLight"/>
            </a:endParaRP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Market trends and growth </a:t>
            </a:r>
            <a:r>
              <a:rPr lang="en-US" sz="1050" b="1" kern="100" dirty="0">
                <a:solidFill>
                  <a:srgbClr val="FFFFFF"/>
                </a:solidFill>
                <a:latin typeface="Poppins"/>
                <a:ea typeface="Calibri"/>
                <a:cs typeface="Poppins ExtraLight"/>
              </a:rPr>
              <a:t>opportunities</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 Explore trends in the residential property management market and identify areas with of growth.</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Client needs and pain points</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 Discuss the primary needs, challenges, and expectations of clients (property owners, associations, and resident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00" cap="none" spc="0" normalizeH="0" baseline="0" noProof="0" dirty="0">
                <a:ln>
                  <a:noFill/>
                </a:ln>
                <a:solidFill>
                  <a:srgbClr val="FFFFFF"/>
                </a:solidFill>
                <a:effectLst/>
                <a:uLnTx/>
                <a:uFillTx/>
                <a:latin typeface="Poppins"/>
                <a:ea typeface="Calibri"/>
                <a:cs typeface="Poppins ExtraLight"/>
              </a:rPr>
              <a:t>Competitive landscape: </a:t>
            </a:r>
            <a:r>
              <a:rPr kumimoji="0" lang="en-US" sz="1050" b="0" i="0" u="none" strike="noStrike" kern="100" cap="none" spc="0" normalizeH="0" baseline="0" noProof="0" dirty="0">
                <a:ln>
                  <a:noFill/>
                </a:ln>
                <a:solidFill>
                  <a:srgbClr val="FFFFFF"/>
                </a:solidFill>
                <a:effectLst/>
                <a:uLnTx/>
                <a:uFillTx/>
                <a:latin typeface="Poppins"/>
                <a:ea typeface="Calibri"/>
                <a:cs typeface="Poppins ExtraLight"/>
              </a:rPr>
              <a:t>Evaluate the strengths, weaknesses, and market positioning of key competitor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1" kern="100" dirty="0">
                <a:solidFill>
                  <a:srgbClr val="FFFFFF"/>
                </a:solidFill>
                <a:latin typeface="Poppins"/>
                <a:ea typeface="Calibri"/>
                <a:cs typeface="Poppins ExtraLight"/>
              </a:rPr>
              <a:t>Innovation and best practices: </a:t>
            </a:r>
            <a:r>
              <a:rPr lang="en-US" sz="1050" kern="100" dirty="0">
                <a:solidFill>
                  <a:srgbClr val="FFFFFF"/>
                </a:solidFill>
                <a:latin typeface="Poppins"/>
                <a:ea typeface="Calibri"/>
                <a:cs typeface="Poppins ExtraLight"/>
              </a:rPr>
              <a:t>Identify innovative practices and successful strategies implemented in the sector to improve efficiency, customer satisfaction, and competitive advantage.</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b="1" kern="100" dirty="0">
                <a:solidFill>
                  <a:srgbClr val="FFFFFF"/>
                </a:solidFill>
                <a:latin typeface="Poppins"/>
                <a:ea typeface="Calibri"/>
                <a:cs typeface="Poppins ExtraLight"/>
              </a:rPr>
              <a:t>Outlook and strategic priorities</a:t>
            </a:r>
            <a:r>
              <a:rPr lang="en-US" sz="1050" kern="100" dirty="0">
                <a:solidFill>
                  <a:srgbClr val="FFFFFF"/>
                </a:solidFill>
                <a:latin typeface="Poppins"/>
                <a:ea typeface="Calibri"/>
                <a:cs typeface="Poppins ExtraLight"/>
              </a:rPr>
              <a:t>: Discuss future industry developments and strategic priorities that companies should focus on to stay ahead in the evolving market</a:t>
            </a:r>
          </a:p>
          <a:p>
            <a:pPr marL="184150" marR="508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050" b="0" i="0" u="none" strike="noStrike" kern="100" cap="none" spc="0" normalizeH="0" baseline="0" noProof="0" dirty="0">
              <a:ln>
                <a:noFill/>
              </a:ln>
              <a:solidFill>
                <a:srgbClr val="FFFFFF"/>
              </a:solidFill>
              <a:effectLst/>
              <a:uLnTx/>
              <a:uFillTx/>
              <a:latin typeface="Poppins"/>
              <a:ea typeface="Calibri"/>
              <a:cs typeface="Poppins ExtraLight"/>
            </a:endParaRPr>
          </a:p>
        </p:txBody>
      </p:sp>
      <p:sp>
        <p:nvSpPr>
          <p:cNvPr id="246" name="object 56">
            <a:extLst>
              <a:ext uri="{FF2B5EF4-FFF2-40B4-BE49-F238E27FC236}">
                <a16:creationId xmlns:a16="http://schemas.microsoft.com/office/drawing/2014/main" id="{F218F018-D89C-BA38-01AA-60E17EAC352F}"/>
              </a:ext>
            </a:extLst>
          </p:cNvPr>
          <p:cNvSpPr txBox="1"/>
          <p:nvPr/>
        </p:nvSpPr>
        <p:spPr>
          <a:xfrm>
            <a:off x="300940" y="916900"/>
            <a:ext cx="853876" cy="77905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lang="es-CO" sz="4950" b="1" i="0" u="none" strike="noStrike" kern="1200" cap="none" spc="-50" normalizeH="0" baseline="0" noProof="0" dirty="0">
                <a:ln>
                  <a:noFill/>
                </a:ln>
                <a:solidFill>
                  <a:srgbClr val="8980F6"/>
                </a:solidFill>
                <a:effectLst/>
                <a:uLnTx/>
                <a:uFillTx/>
                <a:latin typeface="Poppins Bold" panose="00000800000000000000" pitchFamily="2" charset="0"/>
                <a:ea typeface="+mn-ea"/>
                <a:cs typeface="Poppins Bold" panose="00000800000000000000" pitchFamily="2" charset="0"/>
              </a:rPr>
              <a:t>1</a:t>
            </a:r>
            <a:r>
              <a:rPr kumimoji="0" lang="es-CO" sz="3000" b="1" i="0" u="none" strike="noStrike" kern="1200" cap="none" spc="-50" normalizeH="0" baseline="0" noProof="0" dirty="0">
                <a:ln>
                  <a:noFill/>
                </a:ln>
                <a:solidFill>
                  <a:srgbClr val="8980F6"/>
                </a:solidFill>
                <a:effectLst/>
                <a:uLnTx/>
                <a:uFillTx/>
                <a:latin typeface="Poppins Bold" panose="00000800000000000000" pitchFamily="2" charset="0"/>
                <a:ea typeface="+mn-ea"/>
                <a:cs typeface="Poppins Bold" panose="00000800000000000000" pitchFamily="2" charset="0"/>
              </a:rPr>
              <a:t>a</a:t>
            </a:r>
            <a:endParaRPr kumimoji="0" lang="es-CO" sz="3000" b="1" i="0" u="none" strike="noStrike" kern="1200" cap="none" spc="0" normalizeH="0" baseline="0" noProof="0" dirty="0">
              <a:ln>
                <a:noFill/>
              </a:ln>
              <a:solidFill>
                <a:srgbClr val="545354"/>
              </a:solidFill>
              <a:effectLst/>
              <a:uLnTx/>
              <a:uFillTx/>
              <a:latin typeface="Poppins Bold" panose="00000800000000000000" pitchFamily="2" charset="0"/>
              <a:ea typeface="+mn-ea"/>
              <a:cs typeface="Poppins Bold" panose="00000800000000000000" pitchFamily="2" charset="0"/>
            </a:endParaRPr>
          </a:p>
        </p:txBody>
      </p:sp>
      <p:sp>
        <p:nvSpPr>
          <p:cNvPr id="271" name="Rectángulo 270">
            <a:extLst>
              <a:ext uri="{FF2B5EF4-FFF2-40B4-BE49-F238E27FC236}">
                <a16:creationId xmlns:a16="http://schemas.microsoft.com/office/drawing/2014/main" id="{6B871234-5775-ECE8-C0FD-6B94BD321F22}"/>
              </a:ext>
            </a:extLst>
          </p:cNvPr>
          <p:cNvSpPr/>
          <p:nvPr/>
        </p:nvSpPr>
        <p:spPr>
          <a:xfrm>
            <a:off x="3783800" y="991398"/>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75" name="Rectángulo 274">
            <a:extLst>
              <a:ext uri="{FF2B5EF4-FFF2-40B4-BE49-F238E27FC236}">
                <a16:creationId xmlns:a16="http://schemas.microsoft.com/office/drawing/2014/main" id="{EDB40834-E02C-D6F9-195D-79312765383F}"/>
              </a:ext>
            </a:extLst>
          </p:cNvPr>
          <p:cNvSpPr/>
          <p:nvPr/>
        </p:nvSpPr>
        <p:spPr>
          <a:xfrm>
            <a:off x="3781394" y="2632212"/>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4" name="Triángulo 283">
            <a:extLst>
              <a:ext uri="{FF2B5EF4-FFF2-40B4-BE49-F238E27FC236}">
                <a16:creationId xmlns:a16="http://schemas.microsoft.com/office/drawing/2014/main" id="{A454517C-5191-C216-E2E2-1839A0C0D24D}"/>
              </a:ext>
            </a:extLst>
          </p:cNvPr>
          <p:cNvSpPr/>
          <p:nvPr/>
        </p:nvSpPr>
        <p:spPr>
          <a:xfrm rot="5400000">
            <a:off x="3545467" y="254333"/>
            <a:ext cx="538396" cy="464134"/>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6" name="Triángulo 285">
            <a:extLst>
              <a:ext uri="{FF2B5EF4-FFF2-40B4-BE49-F238E27FC236}">
                <a16:creationId xmlns:a16="http://schemas.microsoft.com/office/drawing/2014/main" id="{B5A01591-04DD-52AE-D1C5-A361D6800D63}"/>
              </a:ext>
            </a:extLst>
          </p:cNvPr>
          <p:cNvSpPr/>
          <p:nvPr/>
        </p:nvSpPr>
        <p:spPr>
          <a:xfrm rot="10800000">
            <a:off x="8727428" y="1224789"/>
            <a:ext cx="465624" cy="401400"/>
          </a:xfrm>
          <a:prstGeom prst="triangle">
            <a:avLst/>
          </a:prstGeom>
          <a:solidFill>
            <a:srgbClr val="8987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9" name="TextBox 24">
            <a:extLst>
              <a:ext uri="{FF2B5EF4-FFF2-40B4-BE49-F238E27FC236}">
                <a16:creationId xmlns:a16="http://schemas.microsoft.com/office/drawing/2014/main" id="{3C760962-7B3E-FE6C-B1DF-715A5B17863A}"/>
              </a:ext>
            </a:extLst>
          </p:cNvPr>
          <p:cNvSpPr txBox="1"/>
          <p:nvPr/>
        </p:nvSpPr>
        <p:spPr>
          <a:xfrm>
            <a:off x="257960" y="5521195"/>
            <a:ext cx="4341253"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419" sz="1600" b="1"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Objective of the phase: </a:t>
            </a:r>
            <a:r>
              <a:rPr kumimoji="0" lang="es-419" sz="16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Market Analysis</a:t>
            </a:r>
          </a:p>
        </p:txBody>
      </p:sp>
      <p:sp>
        <p:nvSpPr>
          <p:cNvPr id="2" name="object 7">
            <a:extLst>
              <a:ext uri="{FF2B5EF4-FFF2-40B4-BE49-F238E27FC236}">
                <a16:creationId xmlns:a16="http://schemas.microsoft.com/office/drawing/2014/main" id="{DB99E360-8BFD-4687-D70E-0312C3BD02AC}"/>
              </a:ext>
            </a:extLst>
          </p:cNvPr>
          <p:cNvSpPr txBox="1">
            <a:spLocks/>
          </p:cNvSpPr>
          <p:nvPr/>
        </p:nvSpPr>
        <p:spPr>
          <a:xfrm>
            <a:off x="334679" y="515341"/>
            <a:ext cx="2541871" cy="407798"/>
          </a:xfrm>
          <a:prstGeom prst="rect">
            <a:avLst/>
          </a:prstGeom>
        </p:spPr>
        <p:txBody>
          <a:bodyPr vert="horz" wrap="square" lIns="0" tIns="71622"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CO" sz="2400" b="1" i="0" u="none" strike="noStrike" kern="1200" cap="none" spc="0" normalizeH="0" baseline="0" noProof="0" dirty="0">
                <a:ln>
                  <a:noFill/>
                </a:ln>
                <a:solidFill>
                  <a:srgbClr val="412E91"/>
                </a:solidFill>
                <a:effectLst/>
                <a:uLnTx/>
                <a:uFillTx/>
                <a:latin typeface="Poppins" pitchFamily="2" charset="77"/>
                <a:ea typeface="+mj-ea"/>
                <a:cs typeface="Poppins" pitchFamily="2" charset="77"/>
              </a:rPr>
              <a:t>METHODOLOGY</a:t>
            </a:r>
          </a:p>
        </p:txBody>
      </p:sp>
      <p:sp>
        <p:nvSpPr>
          <p:cNvPr id="15" name="CuadroTexto 14">
            <a:extLst>
              <a:ext uri="{FF2B5EF4-FFF2-40B4-BE49-F238E27FC236}">
                <a16:creationId xmlns:a16="http://schemas.microsoft.com/office/drawing/2014/main" id="{E1339E3C-BA00-8A1A-87BD-6AAD4EF1995B}"/>
              </a:ext>
            </a:extLst>
          </p:cNvPr>
          <p:cNvSpPr txBox="1"/>
          <p:nvPr/>
        </p:nvSpPr>
        <p:spPr>
          <a:xfrm>
            <a:off x="8735208" y="1700936"/>
            <a:ext cx="3253321" cy="110799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Market diagnosis based on expert opin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Summary of insights and implications for </a:t>
            </a:r>
            <a:r>
              <a:rPr kumimoji="0" lang="en-US" sz="1100" b="0" i="0" u="none" strike="noStrike" kern="100" cap="none" spc="0" normalizeH="0" baseline="0" noProof="0" dirty="0" err="1">
                <a:ln>
                  <a:noFill/>
                </a:ln>
                <a:solidFill>
                  <a:srgbClr val="FFFFFF">
                    <a:lumMod val="50000"/>
                  </a:srgbClr>
                </a:solidFill>
                <a:effectLst/>
                <a:uLnTx/>
                <a:uFillTx/>
                <a:latin typeface="Poppins"/>
                <a:ea typeface="Calibri"/>
                <a:cs typeface="Poppins Medium"/>
              </a:rPr>
              <a:t>Odevo</a:t>
            </a: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Detailed results of the interviews (recordings, transcription and summary)</a:t>
            </a:r>
            <a:endParaRPr kumimoji="0" lang="es-CO" sz="1100" b="0" i="0" u="none" strike="noStrike" kern="100" cap="none" spc="0" normalizeH="0" baseline="0" noProof="0" dirty="0">
              <a:ln>
                <a:noFill/>
              </a:ln>
              <a:solidFill>
                <a:srgbClr val="FFFFFF">
                  <a:lumMod val="50000"/>
                </a:srgbClr>
              </a:solidFill>
              <a:effectLst/>
              <a:uLnTx/>
              <a:uFillTx/>
              <a:latin typeface="Poppins"/>
              <a:ea typeface="Calibri"/>
              <a:cs typeface="Poppins Medium"/>
            </a:endParaRPr>
          </a:p>
        </p:txBody>
      </p:sp>
      <p:pic>
        <p:nvPicPr>
          <p:cNvPr id="19" name="Imagen 18" descr="Imagen que contiene Círculo&#10;&#10;Descripción generada automáticamente">
            <a:extLst>
              <a:ext uri="{FF2B5EF4-FFF2-40B4-BE49-F238E27FC236}">
                <a16:creationId xmlns:a16="http://schemas.microsoft.com/office/drawing/2014/main" id="{C014B729-07A1-9FD9-8B39-8C2CF97F0499}"/>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88594" y="6021074"/>
            <a:ext cx="647714" cy="647714"/>
          </a:xfrm>
          <a:prstGeom prst="rect">
            <a:avLst/>
          </a:prstGeom>
        </p:spPr>
      </p:pic>
      <p:sp>
        <p:nvSpPr>
          <p:cNvPr id="6" name="Rectángulo 274">
            <a:extLst>
              <a:ext uri="{FF2B5EF4-FFF2-40B4-BE49-F238E27FC236}">
                <a16:creationId xmlns:a16="http://schemas.microsoft.com/office/drawing/2014/main" id="{2CFFD8FD-EB57-152E-D910-E685F4F1B8A8}"/>
              </a:ext>
            </a:extLst>
          </p:cNvPr>
          <p:cNvSpPr/>
          <p:nvPr/>
        </p:nvSpPr>
        <p:spPr>
          <a:xfrm>
            <a:off x="3768946" y="4260086"/>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cxnSp>
        <p:nvCxnSpPr>
          <p:cNvPr id="10" name="Conector recto 9">
            <a:extLst>
              <a:ext uri="{FF2B5EF4-FFF2-40B4-BE49-F238E27FC236}">
                <a16:creationId xmlns:a16="http://schemas.microsoft.com/office/drawing/2014/main" id="{B92E686B-B3B4-FB7A-3C1B-A511EDB310AA}"/>
              </a:ext>
            </a:extLst>
          </p:cNvPr>
          <p:cNvCxnSpPr>
            <a:cxnSpLocks/>
          </p:cNvCxnSpPr>
          <p:nvPr/>
        </p:nvCxnSpPr>
        <p:spPr>
          <a:xfrm>
            <a:off x="4589688" y="5709522"/>
            <a:ext cx="28135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829A8D9F-A149-6853-D060-0E947B1BC1E9}"/>
              </a:ext>
            </a:extLst>
          </p:cNvPr>
          <p:cNvPicPr>
            <a:picLocks noChangeAspect="1"/>
          </p:cNvPicPr>
          <p:nvPr/>
        </p:nvPicPr>
        <p:blipFill>
          <a:blip r:embed="rId4"/>
          <a:stretch>
            <a:fillRect/>
          </a:stretch>
        </p:blipFill>
        <p:spPr>
          <a:xfrm>
            <a:off x="8688676" y="2883678"/>
            <a:ext cx="3301027" cy="1884771"/>
          </a:xfrm>
          <a:prstGeom prst="rect">
            <a:avLst/>
          </a:prstGeom>
        </p:spPr>
      </p:pic>
      <p:pic>
        <p:nvPicPr>
          <p:cNvPr id="8" name="Imagen 7">
            <a:extLst>
              <a:ext uri="{FF2B5EF4-FFF2-40B4-BE49-F238E27FC236}">
                <a16:creationId xmlns:a16="http://schemas.microsoft.com/office/drawing/2014/main" id="{87626C44-09BE-786F-D972-6FD5B6F1298B}"/>
              </a:ext>
            </a:extLst>
          </p:cNvPr>
          <p:cNvPicPr>
            <a:picLocks noChangeAspect="1"/>
          </p:cNvPicPr>
          <p:nvPr/>
        </p:nvPicPr>
        <p:blipFill>
          <a:blip r:embed="rId5"/>
          <a:stretch>
            <a:fillRect/>
          </a:stretch>
        </p:blipFill>
        <p:spPr>
          <a:xfrm>
            <a:off x="8717193" y="4804490"/>
            <a:ext cx="3243992" cy="1839052"/>
          </a:xfrm>
          <a:prstGeom prst="rect">
            <a:avLst/>
          </a:prstGeom>
        </p:spPr>
      </p:pic>
    </p:spTree>
    <p:extLst>
      <p:ext uri="{BB962C8B-B14F-4D97-AF65-F5344CB8AC3E}">
        <p14:creationId xmlns:p14="http://schemas.microsoft.com/office/powerpoint/2010/main" val="4631788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p:nvPr/>
        </p:nvSpPr>
        <p:spPr>
          <a:xfrm>
            <a:off x="-1440870" y="5115835"/>
            <a:ext cx="3415140" cy="3415140"/>
          </a:xfrm>
          <a:custGeom>
            <a:avLst/>
            <a:gdLst/>
            <a:ahLst/>
            <a:cxnLst/>
            <a:rect l="l" t="t" r="r" b="b"/>
            <a:pathLst>
              <a:path w="5122710" h="5122710">
                <a:moveTo>
                  <a:pt x="0" y="0"/>
                </a:moveTo>
                <a:lnTo>
                  <a:pt x="5122710" y="0"/>
                </a:lnTo>
                <a:lnTo>
                  <a:pt x="5122710" y="5122710"/>
                </a:lnTo>
                <a:lnTo>
                  <a:pt x="0" y="512271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2050" name="Picture 2" descr="Global Property Management Group Odevo Continues U.S. Expansion With ...">
            <a:extLst>
              <a:ext uri="{FF2B5EF4-FFF2-40B4-BE49-F238E27FC236}">
                <a16:creationId xmlns:a16="http://schemas.microsoft.com/office/drawing/2014/main" id="{DBCE418B-51E1-DD9D-1C1D-19C248BBD1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52" name="Rectángulo 51">
            <a:extLst>
              <a:ext uri="{FF2B5EF4-FFF2-40B4-BE49-F238E27FC236}">
                <a16:creationId xmlns:a16="http://schemas.microsoft.com/office/drawing/2014/main" id="{C9515763-40B5-0DBE-B16E-FA0AFD0185B8}"/>
              </a:ext>
            </a:extLst>
          </p:cNvPr>
          <p:cNvSpPr/>
          <p:nvPr/>
        </p:nvSpPr>
        <p:spPr>
          <a:xfrm>
            <a:off x="1361976" y="3808292"/>
            <a:ext cx="10523120" cy="3161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s-CO" sz="1400" b="1" dirty="0">
                <a:solidFill>
                  <a:srgbClr val="FFFFFF"/>
                </a:solidFill>
                <a:latin typeface="Poppins Light"/>
              </a:rPr>
              <a:t>Execution details</a:t>
            </a:r>
          </a:p>
        </p:txBody>
      </p:sp>
      <p:sp>
        <p:nvSpPr>
          <p:cNvPr id="54" name="Rectángulo 53">
            <a:extLst>
              <a:ext uri="{FF2B5EF4-FFF2-40B4-BE49-F238E27FC236}">
                <a16:creationId xmlns:a16="http://schemas.microsoft.com/office/drawing/2014/main" id="{45944AC8-71EE-3EE6-B3F7-6480135ADDED}"/>
              </a:ext>
            </a:extLst>
          </p:cNvPr>
          <p:cNvSpPr/>
          <p:nvPr/>
        </p:nvSpPr>
        <p:spPr>
          <a:xfrm>
            <a:off x="1308265" y="2118644"/>
            <a:ext cx="10576831" cy="2813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rgbClr val="FFFFFF"/>
                </a:solidFill>
                <a:effectLst/>
                <a:uLnTx/>
                <a:uFillTx/>
                <a:latin typeface="Poppins Light"/>
                <a:ea typeface="+mn-ea"/>
                <a:cs typeface="+mn-cs"/>
              </a:rPr>
              <a:t>Objective by phase</a:t>
            </a:r>
          </a:p>
        </p:txBody>
      </p:sp>
      <p:sp>
        <p:nvSpPr>
          <p:cNvPr id="6" name="Rectangle 24">
            <a:extLst>
              <a:ext uri="{FF2B5EF4-FFF2-40B4-BE49-F238E27FC236}">
                <a16:creationId xmlns:a16="http://schemas.microsoft.com/office/drawing/2014/main" id="{CFF74FEB-7503-EAD6-247C-6FFFE36BD512}"/>
              </a:ext>
            </a:extLst>
          </p:cNvPr>
          <p:cNvSpPr/>
          <p:nvPr/>
        </p:nvSpPr>
        <p:spPr>
          <a:xfrm>
            <a:off x="754674" y="1413246"/>
            <a:ext cx="5521668" cy="5135336"/>
          </a:xfrm>
          <a:prstGeom prst="rect">
            <a:avLst/>
          </a:prstGeom>
          <a:noFill/>
          <a:ln w="19050">
            <a:solidFill>
              <a:srgbClr val="7B6CE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ángulo 9">
            <a:extLst>
              <a:ext uri="{FF2B5EF4-FFF2-40B4-BE49-F238E27FC236}">
                <a16:creationId xmlns:a16="http://schemas.microsoft.com/office/drawing/2014/main" id="{9EEECD9C-C60D-D8EA-2F6E-06C82B542206}"/>
              </a:ext>
            </a:extLst>
          </p:cNvPr>
          <p:cNvSpPr/>
          <p:nvPr/>
        </p:nvSpPr>
        <p:spPr>
          <a:xfrm>
            <a:off x="888206" y="1199241"/>
            <a:ext cx="5248910" cy="289327"/>
          </a:xfrm>
          <a:prstGeom prst="rect">
            <a:avLst/>
          </a:prstGeom>
          <a:solidFill>
            <a:srgbClr val="4E39A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prstClr val="white"/>
                </a:solidFill>
                <a:effectLst/>
                <a:uLnTx/>
                <a:uFillTx/>
                <a:latin typeface="Bahnschrift SemiBold" panose="020B0502040204020203" pitchFamily="34" charset="0"/>
                <a:ea typeface="Roboto"/>
                <a:cs typeface="+mn-cs"/>
              </a:rPr>
              <a:t>Execution and market analysis</a:t>
            </a:r>
          </a:p>
        </p:txBody>
      </p:sp>
      <p:sp>
        <p:nvSpPr>
          <p:cNvPr id="11" name="Rectangle 24">
            <a:extLst>
              <a:ext uri="{FF2B5EF4-FFF2-40B4-BE49-F238E27FC236}">
                <a16:creationId xmlns:a16="http://schemas.microsoft.com/office/drawing/2014/main" id="{7B9BB310-EC9A-2E92-06B2-EA4204425474}"/>
              </a:ext>
            </a:extLst>
          </p:cNvPr>
          <p:cNvSpPr/>
          <p:nvPr/>
        </p:nvSpPr>
        <p:spPr>
          <a:xfrm>
            <a:off x="6409874" y="1413245"/>
            <a:ext cx="5642319" cy="5135336"/>
          </a:xfrm>
          <a:prstGeom prst="rect">
            <a:avLst/>
          </a:prstGeom>
          <a:noFill/>
          <a:ln w="19050">
            <a:solidFill>
              <a:srgbClr val="7B6CE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ángulo 12">
            <a:extLst>
              <a:ext uri="{FF2B5EF4-FFF2-40B4-BE49-F238E27FC236}">
                <a16:creationId xmlns:a16="http://schemas.microsoft.com/office/drawing/2014/main" id="{9297222A-0412-AB16-07FD-64D5A5AD0009}"/>
              </a:ext>
            </a:extLst>
          </p:cNvPr>
          <p:cNvSpPr/>
          <p:nvPr/>
        </p:nvSpPr>
        <p:spPr>
          <a:xfrm>
            <a:off x="6606579" y="1199241"/>
            <a:ext cx="5248910" cy="289327"/>
          </a:xfrm>
          <a:prstGeom prst="rect">
            <a:avLst/>
          </a:prstGeom>
          <a:solidFill>
            <a:srgbClr val="4E39A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prstClr val="white"/>
                </a:solidFill>
                <a:effectLst/>
                <a:uLnTx/>
                <a:uFillTx/>
                <a:latin typeface="Bahnschrift SemiBold" panose="020B0502040204020203" pitchFamily="34" charset="0"/>
                <a:ea typeface="Roboto"/>
                <a:cs typeface="+mn-cs"/>
              </a:rPr>
              <a:t>Routes optimization</a:t>
            </a:r>
          </a:p>
        </p:txBody>
      </p:sp>
      <p:sp>
        <p:nvSpPr>
          <p:cNvPr id="14" name="CuadroTexto 19">
            <a:extLst>
              <a:ext uri="{FF2B5EF4-FFF2-40B4-BE49-F238E27FC236}">
                <a16:creationId xmlns:a16="http://schemas.microsoft.com/office/drawing/2014/main" id="{FD638726-E61C-DC31-9A9B-45A79A781434}"/>
              </a:ext>
            </a:extLst>
          </p:cNvPr>
          <p:cNvSpPr txBox="1"/>
          <p:nvPr/>
        </p:nvSpPr>
        <p:spPr>
          <a:xfrm>
            <a:off x="6679034" y="5502271"/>
            <a:ext cx="5176455" cy="692497"/>
          </a:xfrm>
          <a:prstGeom prst="rect">
            <a:avLst/>
          </a:prstGeom>
          <a:noFill/>
        </p:spPr>
        <p:txBody>
          <a:bodyPr wrap="square" lIns="91440" tIns="45720" rIns="91440" bIns="4572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prstClr val="black"/>
                </a:solidFill>
                <a:effectLst/>
                <a:uLnTx/>
                <a:uFillTx/>
                <a:latin typeface="Trebuchet MS"/>
                <a:ea typeface="Roboto"/>
                <a:cs typeface="+mn-cs"/>
              </a:rPr>
              <a:t>“Now, with GPS, we know if they have visited or not... The system automatically captures the </a:t>
            </a:r>
            <a:r>
              <a:rPr kumimoji="0" lang="en-US" sz="1300" b="0" i="1" u="none" strike="noStrike" kern="1200" cap="none" spc="0" normalizeH="0" baseline="0" noProof="0" dirty="0" err="1">
                <a:ln>
                  <a:noFill/>
                </a:ln>
                <a:solidFill>
                  <a:prstClr val="black"/>
                </a:solidFill>
                <a:effectLst/>
                <a:uLnTx/>
                <a:uFillTx/>
                <a:latin typeface="Trebuchet MS"/>
                <a:ea typeface="Roboto"/>
                <a:cs typeface="+mn-cs"/>
              </a:rPr>
              <a:t>georeference</a:t>
            </a:r>
            <a:r>
              <a:rPr kumimoji="0" lang="en-US" sz="1300" b="0" i="1" u="none" strike="noStrike" kern="1200" cap="none" spc="0" normalizeH="0" baseline="0" noProof="0" dirty="0">
                <a:ln>
                  <a:noFill/>
                </a:ln>
                <a:solidFill>
                  <a:prstClr val="black"/>
                </a:solidFill>
                <a:effectLst/>
                <a:uLnTx/>
                <a:uFillTx/>
                <a:latin typeface="Trebuchet MS"/>
                <a:ea typeface="Roboto"/>
                <a:cs typeface="+mn-cs"/>
              </a:rPr>
              <a:t> sample.” - </a:t>
            </a:r>
            <a:r>
              <a:rPr kumimoji="0" lang="en-US" sz="1300" b="0" u="none" strike="noStrike" kern="1200" cap="none" spc="0" normalizeH="0" baseline="0" noProof="0" dirty="0">
                <a:ln>
                  <a:noFill/>
                </a:ln>
                <a:solidFill>
                  <a:prstClr val="black"/>
                </a:solidFill>
                <a:effectLst/>
                <a:uLnTx/>
                <a:uFillTx/>
                <a:latin typeface="Trebuchet MS"/>
                <a:ea typeface="Roboto"/>
                <a:cs typeface="+mn-cs"/>
              </a:rPr>
              <a:t>Former Intelligence &amp; Analytics Director for GEPP.</a:t>
            </a:r>
            <a:endParaRPr kumimoji="0" lang="es-CO" sz="1300" b="0" u="none" strike="noStrike" kern="1200" cap="none" spc="0" normalizeH="0" baseline="0" noProof="0" dirty="0">
              <a:ln>
                <a:noFill/>
              </a:ln>
              <a:solidFill>
                <a:prstClr val="black"/>
              </a:solidFill>
              <a:effectLst/>
              <a:uLnTx/>
              <a:uFillTx/>
              <a:latin typeface="Trebuchet MS" panose="020B0603020202020204" pitchFamily="34" charset="0"/>
              <a:ea typeface="Roboto"/>
              <a:cs typeface="+mn-cs"/>
            </a:endParaRPr>
          </a:p>
        </p:txBody>
      </p:sp>
      <p:sp>
        <p:nvSpPr>
          <p:cNvPr id="15" name="CuadroTexto 14">
            <a:extLst>
              <a:ext uri="{FF2B5EF4-FFF2-40B4-BE49-F238E27FC236}">
                <a16:creationId xmlns:a16="http://schemas.microsoft.com/office/drawing/2014/main" id="{3BA2830A-3DC6-85BA-19D2-95099172E182}"/>
              </a:ext>
            </a:extLst>
          </p:cNvPr>
          <p:cNvSpPr txBox="1"/>
          <p:nvPr/>
        </p:nvSpPr>
        <p:spPr>
          <a:xfrm>
            <a:off x="884625" y="3680360"/>
            <a:ext cx="5248910" cy="2693045"/>
          </a:xfrm>
          <a:prstGeom prst="rect">
            <a:avLst/>
          </a:prstGeom>
          <a:noFill/>
        </p:spPr>
        <p:txBody>
          <a:bodyPr wrap="square" lIns="91440" tIns="45720" rIns="91440" bIns="4572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prstClr val="black"/>
                </a:solidFill>
                <a:effectLst/>
                <a:uLnTx/>
                <a:uFillTx/>
                <a:latin typeface="Trebuchet MS"/>
                <a:ea typeface="Roboto"/>
                <a:cs typeface="+mn-cs"/>
              </a:rPr>
              <a:t>“It has been a 3–5-year process, during which we have achieved an accuracy level of over 97% - 98% for images in the main stages.” - </a:t>
            </a:r>
            <a:r>
              <a:rPr kumimoji="0" lang="en-US" sz="1300" b="0" u="none" strike="noStrike" kern="1200" cap="none" spc="0" normalizeH="0" baseline="0" noProof="0" dirty="0">
                <a:ln>
                  <a:noFill/>
                </a:ln>
                <a:solidFill>
                  <a:prstClr val="black"/>
                </a:solidFill>
                <a:effectLst/>
                <a:uLnTx/>
                <a:uFillTx/>
                <a:latin typeface="Trebuchet MS"/>
                <a:ea typeface="Roboto"/>
                <a:cs typeface="+mn-cs"/>
              </a:rPr>
              <a:t>Former Intelligence &amp; Analytics Director for GE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300" b="0" i="1" u="none" strike="noStrike" kern="1200" cap="none" spc="0" normalizeH="0" baseline="0" noProof="0" dirty="0">
              <a:ln>
                <a:noFill/>
              </a:ln>
              <a:solidFill>
                <a:prstClr val="black"/>
              </a:solidFill>
              <a:effectLst/>
              <a:uLnTx/>
              <a:uFillTx/>
              <a:latin typeface="Trebuchet MS"/>
              <a:ea typeface="Roboto"/>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prstClr val="black"/>
                </a:solidFill>
                <a:effectLst/>
                <a:uLnTx/>
                <a:uFillTx/>
                <a:latin typeface="Trebuchet MS"/>
                <a:ea typeface="Roboto"/>
                <a:cs typeface="+mn-cs"/>
              </a:rPr>
              <a:t>“This has allowed us to maximize execution quality and obtain real-time market intelligence. With this, you can ensure that your deployment strategies are met.” - </a:t>
            </a:r>
            <a:r>
              <a:rPr kumimoji="0" lang="en-US" sz="1300" b="0" u="none" strike="noStrike" kern="1200" cap="none" spc="0" normalizeH="0" baseline="0" noProof="0" dirty="0">
                <a:ln>
                  <a:noFill/>
                </a:ln>
                <a:solidFill>
                  <a:prstClr val="black"/>
                </a:solidFill>
                <a:effectLst/>
                <a:uLnTx/>
                <a:uFillTx/>
                <a:latin typeface="Trebuchet MS"/>
                <a:ea typeface="Roboto"/>
                <a:cs typeface="+mn-cs"/>
              </a:rPr>
              <a:t>Former Intelligence &amp; Analytics Director for GE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u="none" strike="noStrike" kern="1200" cap="none" spc="0" normalizeH="0" baseline="0" noProof="0" dirty="0">
              <a:ln>
                <a:noFill/>
              </a:ln>
              <a:solidFill>
                <a:srgbClr val="1D1C1D"/>
              </a:solidFill>
              <a:effectLst/>
              <a:uLnTx/>
              <a:uFillTx/>
              <a:latin typeface="Trebuchet MS" panose="020B0603020202020204" pitchFamily="34" charset="0"/>
              <a:ea typeface="Roboto"/>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prstClr val="black"/>
                </a:solidFill>
                <a:effectLst/>
                <a:uLnTx/>
                <a:uFillTx/>
                <a:latin typeface="Trebuchet MS" panose="020B0603020202020204" pitchFamily="34" charset="0"/>
                <a:ea typeface="Roboto"/>
                <a:cs typeface="+mn-cs"/>
              </a:rPr>
              <a:t>“The important thing about the photos is that we can see how sales are going compared to the previous month or if there are seasonal events like September 16th.” - </a:t>
            </a:r>
            <a:r>
              <a:rPr kumimoji="0" lang="en-US" sz="1300" b="0" u="none" strike="noStrike" kern="1200" cap="none" spc="0" normalizeH="0" baseline="0" noProof="0" dirty="0">
                <a:ln>
                  <a:noFill/>
                </a:ln>
                <a:solidFill>
                  <a:prstClr val="black"/>
                </a:solidFill>
                <a:effectLst/>
                <a:uLnTx/>
                <a:uFillTx/>
                <a:latin typeface="Trebuchet MS" panose="020B0603020202020204" pitchFamily="34" charset="0"/>
                <a:ea typeface="Roboto"/>
                <a:cs typeface="+mn-cs"/>
              </a:rPr>
              <a:t>Former Sales Manager for </a:t>
            </a:r>
            <a:r>
              <a:rPr kumimoji="0" lang="en-US" sz="1300" b="0" u="none" strike="noStrike" kern="1200" cap="none" spc="0" normalizeH="0" baseline="0" noProof="0" dirty="0" err="1">
                <a:ln>
                  <a:noFill/>
                </a:ln>
                <a:solidFill>
                  <a:prstClr val="black"/>
                </a:solidFill>
                <a:effectLst/>
                <a:uLnTx/>
                <a:uFillTx/>
                <a:latin typeface="Trebuchet MS" panose="020B0603020202020204" pitchFamily="34" charset="0"/>
                <a:ea typeface="Roboto"/>
                <a:cs typeface="+mn-cs"/>
              </a:rPr>
              <a:t>Pepsico</a:t>
            </a:r>
            <a:endParaRPr kumimoji="0" lang="es-CO" sz="1300" b="0" u="none" strike="noStrike" kern="1200" cap="none" spc="0" normalizeH="0" baseline="0" noProof="0" dirty="0">
              <a:ln>
                <a:noFill/>
              </a:ln>
              <a:solidFill>
                <a:prstClr val="black"/>
              </a:solidFill>
              <a:effectLst/>
              <a:uLnTx/>
              <a:uFillTx/>
              <a:latin typeface="Trebuchet MS" panose="020B0603020202020204" pitchFamily="34" charset="0"/>
              <a:ea typeface="Roboto"/>
              <a:cs typeface="+mn-cs"/>
            </a:endParaRPr>
          </a:p>
        </p:txBody>
      </p:sp>
      <p:sp>
        <p:nvSpPr>
          <p:cNvPr id="16" name="CuadroTexto 16">
            <a:extLst>
              <a:ext uri="{FF2B5EF4-FFF2-40B4-BE49-F238E27FC236}">
                <a16:creationId xmlns:a16="http://schemas.microsoft.com/office/drawing/2014/main" id="{94BD07E4-7213-ECD7-F4A9-EF73F596A752}"/>
              </a:ext>
            </a:extLst>
          </p:cNvPr>
          <p:cNvSpPr txBox="1"/>
          <p:nvPr/>
        </p:nvSpPr>
        <p:spPr>
          <a:xfrm>
            <a:off x="888207" y="1647327"/>
            <a:ext cx="3277824" cy="2092881"/>
          </a:xfrm>
          <a:prstGeom prst="rect">
            <a:avLst/>
          </a:prstGeom>
          <a:noFill/>
        </p:spPr>
        <p:txBody>
          <a:bodyPr wrap="square" lIns="91440" tIns="45720" rIns="91440" bIns="45720" rtlCol="0" anchor="t">
            <a:spAutoFit/>
          </a:bodyPr>
          <a:lstStyle>
            <a:defPPr>
              <a:defRPr lang="es-ES"/>
            </a:defPPr>
            <a:lvl1pPr marL="0" algn="l" defTabSz="914400" rtl="0" eaLnBrk="1" latinLnBrk="0" hangingPunct="1">
              <a:defRPr sz="1800" kern="1200">
                <a:solidFill>
                  <a:srgbClr val="304258"/>
                </a:solidFill>
                <a:latin typeface="Poppins Light"/>
              </a:defRPr>
            </a:lvl1pPr>
            <a:lvl2pPr marL="457200" algn="l" defTabSz="914400" rtl="0" eaLnBrk="1" latinLnBrk="0" hangingPunct="1">
              <a:defRPr sz="1800" kern="1200">
                <a:solidFill>
                  <a:srgbClr val="304258"/>
                </a:solidFill>
                <a:latin typeface="Poppins Light"/>
              </a:defRPr>
            </a:lvl2pPr>
            <a:lvl3pPr marL="914400" algn="l" defTabSz="914400" rtl="0" eaLnBrk="1" latinLnBrk="0" hangingPunct="1">
              <a:defRPr sz="1800" kern="1200">
                <a:solidFill>
                  <a:srgbClr val="304258"/>
                </a:solidFill>
                <a:latin typeface="Poppins Light"/>
              </a:defRPr>
            </a:lvl3pPr>
            <a:lvl4pPr marL="1371600" algn="l" defTabSz="914400" rtl="0" eaLnBrk="1" latinLnBrk="0" hangingPunct="1">
              <a:defRPr sz="1800" kern="1200">
                <a:solidFill>
                  <a:srgbClr val="304258"/>
                </a:solidFill>
                <a:latin typeface="Poppins Light"/>
              </a:defRPr>
            </a:lvl4pPr>
            <a:lvl5pPr marL="1828800" algn="l" defTabSz="914400" rtl="0" eaLnBrk="1" latinLnBrk="0" hangingPunct="1">
              <a:defRPr sz="1800" kern="1200">
                <a:solidFill>
                  <a:srgbClr val="304258"/>
                </a:solidFill>
                <a:latin typeface="Poppins Light"/>
              </a:defRPr>
            </a:lvl5pPr>
            <a:lvl6pPr marL="2286000" algn="l" defTabSz="914400" rtl="0" eaLnBrk="1" latinLnBrk="0" hangingPunct="1">
              <a:defRPr sz="1800" kern="1200">
                <a:solidFill>
                  <a:srgbClr val="304258"/>
                </a:solidFill>
                <a:latin typeface="Poppins Light"/>
              </a:defRPr>
            </a:lvl6pPr>
            <a:lvl7pPr marL="2743200" algn="l" defTabSz="914400" rtl="0" eaLnBrk="1" latinLnBrk="0" hangingPunct="1">
              <a:defRPr sz="1800" kern="1200">
                <a:solidFill>
                  <a:srgbClr val="304258"/>
                </a:solidFill>
                <a:latin typeface="Poppins Light"/>
              </a:defRPr>
            </a:lvl7pPr>
            <a:lvl8pPr marL="3200400" algn="l" defTabSz="914400" rtl="0" eaLnBrk="1" latinLnBrk="0" hangingPunct="1">
              <a:defRPr sz="1800" kern="1200">
                <a:solidFill>
                  <a:srgbClr val="304258"/>
                </a:solidFill>
                <a:latin typeface="Poppins Light"/>
              </a:defRPr>
            </a:lvl8pPr>
            <a:lvl9pPr marL="3657600" algn="l" defTabSz="914400" rtl="0" eaLnBrk="1" latinLnBrk="0" hangingPunct="1">
              <a:defRPr sz="1800" kern="1200">
                <a:solidFill>
                  <a:srgbClr val="304258"/>
                </a:solidFill>
                <a:latin typeface="Poppins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Trebuchet MS"/>
                <a:ea typeface="+mn-ea"/>
                <a:cs typeface="+mn-cs"/>
              </a:rPr>
              <a:t>GEPP has developed a custom product with a boutique company that uses artificial intelligence to recognize im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3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Trebuchet MS"/>
                <a:ea typeface="+mn-ea"/>
                <a:cs typeface="+mn-cs"/>
              </a:rPr>
              <a:t>With just a photo of the refrigerators, they can verify stock, execution level, portfolio placement, and compliance with price and promotions within 5 seconds.</a:t>
            </a:r>
            <a:endParaRPr kumimoji="0" lang="es-ES" sz="1300" b="1" i="0" u="none" strike="noStrike" kern="1200" cap="none" spc="0" normalizeH="0" baseline="0" noProof="0" dirty="0">
              <a:ln>
                <a:noFill/>
              </a:ln>
              <a:solidFill>
                <a:srgbClr val="000000"/>
              </a:solidFill>
              <a:effectLst/>
              <a:uLnTx/>
              <a:uFillTx/>
              <a:latin typeface="Trebuchet MS"/>
              <a:ea typeface="+mn-ea"/>
              <a:cs typeface="+mn-cs"/>
            </a:endParaRPr>
          </a:p>
        </p:txBody>
      </p:sp>
      <p:pic>
        <p:nvPicPr>
          <p:cNvPr id="17" name="Picture 2" descr="Vitrina De Refrigeración Con Bebidas En Botellas De Colores De Estilo  Plano. Refresco, Limonada, Agua Mineral. Nevera En Tienda. Ilustración De  Vector. Ilustraciones svg, vectoriales, clip art vectorizado libre de  derechos. Image">
            <a:extLst>
              <a:ext uri="{FF2B5EF4-FFF2-40B4-BE49-F238E27FC236}">
                <a16:creationId xmlns:a16="http://schemas.microsoft.com/office/drawing/2014/main" id="{A04FD2DC-7F21-6C38-C59F-3BDE2B5DEF9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7941" t="3175" r="17710" b="3175"/>
          <a:stretch/>
        </p:blipFill>
        <p:spPr bwMode="auto">
          <a:xfrm>
            <a:off x="4438789" y="1645423"/>
            <a:ext cx="1449969" cy="2110173"/>
          </a:xfrm>
          <a:prstGeom prst="rect">
            <a:avLst/>
          </a:prstGeom>
          <a:noFill/>
          <a:extLst>
            <a:ext uri="{909E8E84-426E-40DD-AFC4-6F175D3DCCD1}">
              <a14:hiddenFill xmlns:a14="http://schemas.microsoft.com/office/drawing/2010/main">
                <a:solidFill>
                  <a:srgbClr val="FFFFFF"/>
                </a:solidFill>
              </a14:hiddenFill>
            </a:ext>
          </a:extLst>
        </p:spPr>
      </p:pic>
      <p:sp>
        <p:nvSpPr>
          <p:cNvPr id="18" name="CuadroTexto 16">
            <a:extLst>
              <a:ext uri="{FF2B5EF4-FFF2-40B4-BE49-F238E27FC236}">
                <a16:creationId xmlns:a16="http://schemas.microsoft.com/office/drawing/2014/main" id="{4B589DF1-B53E-97DF-5803-CEDD7CE540D0}"/>
              </a:ext>
            </a:extLst>
          </p:cNvPr>
          <p:cNvSpPr txBox="1"/>
          <p:nvPr/>
        </p:nvSpPr>
        <p:spPr>
          <a:xfrm>
            <a:off x="6525754" y="1647327"/>
            <a:ext cx="5443635" cy="2108269"/>
          </a:xfrm>
          <a:prstGeom prst="rect">
            <a:avLst/>
          </a:prstGeom>
          <a:noFill/>
        </p:spPr>
        <p:txBody>
          <a:bodyPr wrap="square" rtlCol="0">
            <a:spAutoFit/>
          </a:bodyPr>
          <a:lstStyle>
            <a:defPPr>
              <a:defRPr lang="es-ES"/>
            </a:defPPr>
            <a:lvl1pPr marL="0" algn="l" defTabSz="914400" rtl="0" eaLnBrk="1" latinLnBrk="0" hangingPunct="1">
              <a:defRPr sz="1800" kern="1200">
                <a:solidFill>
                  <a:srgbClr val="304258"/>
                </a:solidFill>
                <a:latin typeface="Poppins Light"/>
              </a:defRPr>
            </a:lvl1pPr>
            <a:lvl2pPr marL="457200" algn="l" defTabSz="914400" rtl="0" eaLnBrk="1" latinLnBrk="0" hangingPunct="1">
              <a:defRPr sz="1800" kern="1200">
                <a:solidFill>
                  <a:srgbClr val="304258"/>
                </a:solidFill>
                <a:latin typeface="Poppins Light"/>
              </a:defRPr>
            </a:lvl2pPr>
            <a:lvl3pPr marL="914400" algn="l" defTabSz="914400" rtl="0" eaLnBrk="1" latinLnBrk="0" hangingPunct="1">
              <a:defRPr sz="1800" kern="1200">
                <a:solidFill>
                  <a:srgbClr val="304258"/>
                </a:solidFill>
                <a:latin typeface="Poppins Light"/>
              </a:defRPr>
            </a:lvl3pPr>
            <a:lvl4pPr marL="1371600" algn="l" defTabSz="914400" rtl="0" eaLnBrk="1" latinLnBrk="0" hangingPunct="1">
              <a:defRPr sz="1800" kern="1200">
                <a:solidFill>
                  <a:srgbClr val="304258"/>
                </a:solidFill>
                <a:latin typeface="Poppins Light"/>
              </a:defRPr>
            </a:lvl4pPr>
            <a:lvl5pPr marL="1828800" algn="l" defTabSz="914400" rtl="0" eaLnBrk="1" latinLnBrk="0" hangingPunct="1">
              <a:defRPr sz="1800" kern="1200">
                <a:solidFill>
                  <a:srgbClr val="304258"/>
                </a:solidFill>
                <a:latin typeface="Poppins Light"/>
              </a:defRPr>
            </a:lvl5pPr>
            <a:lvl6pPr marL="2286000" algn="l" defTabSz="914400" rtl="0" eaLnBrk="1" latinLnBrk="0" hangingPunct="1">
              <a:defRPr sz="1800" kern="1200">
                <a:solidFill>
                  <a:srgbClr val="304258"/>
                </a:solidFill>
                <a:latin typeface="Poppins Light"/>
              </a:defRPr>
            </a:lvl6pPr>
            <a:lvl7pPr marL="2743200" algn="l" defTabSz="914400" rtl="0" eaLnBrk="1" latinLnBrk="0" hangingPunct="1">
              <a:defRPr sz="1800" kern="1200">
                <a:solidFill>
                  <a:srgbClr val="304258"/>
                </a:solidFill>
                <a:latin typeface="Poppins Light"/>
              </a:defRPr>
            </a:lvl7pPr>
            <a:lvl8pPr marL="3200400" algn="l" defTabSz="914400" rtl="0" eaLnBrk="1" latinLnBrk="0" hangingPunct="1">
              <a:defRPr sz="1800" kern="1200">
                <a:solidFill>
                  <a:srgbClr val="304258"/>
                </a:solidFill>
                <a:latin typeface="Poppins Light"/>
              </a:defRPr>
            </a:lvl8pPr>
            <a:lvl9pPr marL="3657600" algn="l" defTabSz="914400" rtl="0" eaLnBrk="1" latinLnBrk="0" hangingPunct="1">
              <a:defRPr sz="1800" kern="1200">
                <a:solidFill>
                  <a:srgbClr val="304258"/>
                </a:solidFill>
                <a:latin typeface="Poppins Light"/>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In addition to their own development, they use the "Territory Planner" tool to model and optimize sales routes.​Salespeople visit approximately 60 clients a day, either on motorcycles or on foo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What you need to do is balance so that each route no longer has the same sales load. Then, that optimization is generated, validated, uploaded to Salesforce, and the salesperson receives their weekly schedule.” </a:t>
            </a:r>
            <a:r>
              <a:rPr kumimoji="0" lang="en-US"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Business Development Manager at PepsiCo.</a:t>
            </a:r>
            <a:endParaRPr kumimoji="0" lang="es-ES" sz="13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19" name="Picture 5" descr="A screenshot of a computer screen&#10;&#10;Description automatically generated">
            <a:extLst>
              <a:ext uri="{FF2B5EF4-FFF2-40B4-BE49-F238E27FC236}">
                <a16:creationId xmlns:a16="http://schemas.microsoft.com/office/drawing/2014/main" id="{6B214504-A690-E080-0097-B705ACA61D20}"/>
              </a:ext>
            </a:extLst>
          </p:cNvPr>
          <p:cNvPicPr>
            <a:picLocks noChangeAspect="1"/>
          </p:cNvPicPr>
          <p:nvPr/>
        </p:nvPicPr>
        <p:blipFill rotWithShape="1">
          <a:blip r:embed="rId6">
            <a:extLst>
              <a:ext uri="{28A0092B-C50C-407E-A947-70E740481C1C}">
                <a14:useLocalDpi xmlns:a14="http://schemas.microsoft.com/office/drawing/2010/main" val="0"/>
              </a:ext>
            </a:extLst>
          </a:blip>
          <a:srcRect l="7006" r="32973"/>
          <a:stretch/>
        </p:blipFill>
        <p:spPr>
          <a:xfrm>
            <a:off x="7733009" y="3755596"/>
            <a:ext cx="2719710" cy="1717744"/>
          </a:xfrm>
          <a:prstGeom prst="rect">
            <a:avLst/>
          </a:prstGeom>
        </p:spPr>
      </p:pic>
      <p:sp>
        <p:nvSpPr>
          <p:cNvPr id="21" name="Rectangle 2">
            <a:extLst>
              <a:ext uri="{FF2B5EF4-FFF2-40B4-BE49-F238E27FC236}">
                <a16:creationId xmlns:a16="http://schemas.microsoft.com/office/drawing/2014/main" id="{F7851A6A-B8AD-F4F1-2396-67EDBFD7A6DB}"/>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Interview results for a food and beverage company conducting market analysis</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30" name="Rectángulo 29">
            <a:extLst>
              <a:ext uri="{FF2B5EF4-FFF2-40B4-BE49-F238E27FC236}">
                <a16:creationId xmlns:a16="http://schemas.microsoft.com/office/drawing/2014/main" id="{80DA8DB6-1F91-0E4D-8069-56B676C4FD04}"/>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2" name="Title 1">
            <a:extLst>
              <a:ext uri="{FF2B5EF4-FFF2-40B4-BE49-F238E27FC236}">
                <a16:creationId xmlns:a16="http://schemas.microsoft.com/office/drawing/2014/main" id="{46B79329-E56E-5EA1-4ED8-3A89D2FBE8A0}"/>
              </a:ext>
            </a:extLst>
          </p:cNvPr>
          <p:cNvSpPr txBox="1">
            <a:spLocks/>
          </p:cNvSpPr>
          <p:nvPr/>
        </p:nvSpPr>
        <p:spPr>
          <a:xfrm>
            <a:off x="774867" y="405855"/>
            <a:ext cx="10550013" cy="798836"/>
          </a:xfrm>
          <a:prstGeom prst="rect">
            <a:avLst/>
          </a:prstGeom>
        </p:spPr>
        <p:txBody>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dirty="0"/>
              <a:t>Key themes emerging from the interviews and other research</a:t>
            </a:r>
          </a:p>
        </p:txBody>
      </p:sp>
      <p:sp>
        <p:nvSpPr>
          <p:cNvPr id="4" name="TextBox 3">
            <a:extLst>
              <a:ext uri="{FF2B5EF4-FFF2-40B4-BE49-F238E27FC236}">
                <a16:creationId xmlns:a16="http://schemas.microsoft.com/office/drawing/2014/main" id="{2F07A98B-7ACB-0B94-B36B-CCCE13B77861}"/>
              </a:ext>
            </a:extLst>
          </p:cNvPr>
          <p:cNvSpPr txBox="1"/>
          <p:nvPr/>
        </p:nvSpPr>
        <p:spPr>
          <a:xfrm>
            <a:off x="8839185" y="862311"/>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7" name="Group 6">
            <a:extLst>
              <a:ext uri="{FF2B5EF4-FFF2-40B4-BE49-F238E27FC236}">
                <a16:creationId xmlns:a16="http://schemas.microsoft.com/office/drawing/2014/main" id="{653EAF6B-2BA3-6732-304C-2B2258C4AD43}"/>
              </a:ext>
            </a:extLst>
          </p:cNvPr>
          <p:cNvGrpSpPr/>
          <p:nvPr/>
        </p:nvGrpSpPr>
        <p:grpSpPr>
          <a:xfrm>
            <a:off x="8853188" y="867659"/>
            <a:ext cx="3141553" cy="266640"/>
            <a:chOff x="8853189" y="1020059"/>
            <a:chExt cx="888390" cy="235526"/>
          </a:xfrm>
        </p:grpSpPr>
        <p:cxnSp>
          <p:nvCxnSpPr>
            <p:cNvPr id="8" name="Straight Connector 7">
              <a:extLst>
                <a:ext uri="{FF2B5EF4-FFF2-40B4-BE49-F238E27FC236}">
                  <a16:creationId xmlns:a16="http://schemas.microsoft.com/office/drawing/2014/main" id="{C4E20446-33F2-9512-2208-C3BEBE1378FC}"/>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6A23A7-007F-6970-56A2-45149DDE95EF}"/>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1217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p:nvPr/>
        </p:nvSpPr>
        <p:spPr>
          <a:xfrm>
            <a:off x="-1440870" y="5115835"/>
            <a:ext cx="3415140" cy="3415140"/>
          </a:xfrm>
          <a:custGeom>
            <a:avLst/>
            <a:gdLst/>
            <a:ahLst/>
            <a:cxnLst/>
            <a:rect l="l" t="t" r="r" b="b"/>
            <a:pathLst>
              <a:path w="5122710" h="5122710">
                <a:moveTo>
                  <a:pt x="0" y="0"/>
                </a:moveTo>
                <a:lnTo>
                  <a:pt x="5122710" y="0"/>
                </a:lnTo>
                <a:lnTo>
                  <a:pt x="5122710" y="5122710"/>
                </a:lnTo>
                <a:lnTo>
                  <a:pt x="0" y="512271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200" b="0" i="0" u="none" strike="noStrike" kern="1200" cap="none" spc="0" normalizeH="0" baseline="0" noProof="0" dirty="0">
              <a:ln>
                <a:noFill/>
              </a:ln>
              <a:solidFill>
                <a:srgbClr val="545354"/>
              </a:solidFill>
              <a:effectLst/>
              <a:uLnTx/>
              <a:uFillTx/>
              <a:latin typeface="Poppins Light"/>
              <a:ea typeface="+mn-ea"/>
              <a:cs typeface="+mn-cs"/>
            </a:endParaRPr>
          </a:p>
        </p:txBody>
      </p:sp>
      <p:pic>
        <p:nvPicPr>
          <p:cNvPr id="2050" name="Picture 2" descr="Global Property Management Group Odevo Continues U.S. Expansion With ...">
            <a:extLst>
              <a:ext uri="{FF2B5EF4-FFF2-40B4-BE49-F238E27FC236}">
                <a16:creationId xmlns:a16="http://schemas.microsoft.com/office/drawing/2014/main" id="{DBCE418B-51E1-DD9D-1C1D-19C248BBD1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28" y="367071"/>
            <a:ext cx="612559" cy="320572"/>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
            <a:extLst>
              <a:ext uri="{FF2B5EF4-FFF2-40B4-BE49-F238E27FC236}">
                <a16:creationId xmlns:a16="http://schemas.microsoft.com/office/drawing/2014/main" id="{F7851A6A-B8AD-F4F1-2396-67EDBFD7A6DB}"/>
              </a:ext>
            </a:extLst>
          </p:cNvPr>
          <p:cNvSpPr/>
          <p:nvPr/>
        </p:nvSpPr>
        <p:spPr>
          <a:xfrm>
            <a:off x="754674" y="-9362"/>
            <a:ext cx="8668139" cy="38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a:cs typeface="Arial"/>
              </a:rPr>
              <a:t>Examples of Interview results for a luxury cruise company understanding opportunities</a:t>
            </a:r>
            <a:endParaRPr kumimoji="0" lang="en-US" sz="1400" b="0" i="0" u="none" strike="noStrike" kern="1200" cap="none" spc="0" normalizeH="0" baseline="0" noProof="0" dirty="0">
              <a:ln>
                <a:noFill/>
              </a:ln>
              <a:solidFill>
                <a:srgbClr val="9583FF">
                  <a:lumMod val="60000"/>
                  <a:lumOff val="40000"/>
                </a:srgbClr>
              </a:solidFill>
              <a:effectLst/>
              <a:uLnTx/>
              <a:uFillTx/>
              <a:latin typeface="Poppins"/>
              <a:ea typeface="Roboto" panose="02000000000000000000" pitchFamily="2" charset="0"/>
              <a:cs typeface="Arial" panose="020B0604020202020204" pitchFamily="34" charset="0"/>
            </a:endParaRPr>
          </a:p>
        </p:txBody>
      </p:sp>
      <p:sp>
        <p:nvSpPr>
          <p:cNvPr id="2" name="Title 1">
            <a:extLst>
              <a:ext uri="{FF2B5EF4-FFF2-40B4-BE49-F238E27FC236}">
                <a16:creationId xmlns:a16="http://schemas.microsoft.com/office/drawing/2014/main" id="{CEE1F01A-436A-C5CB-1715-684C5D7D64FB}"/>
              </a:ext>
            </a:extLst>
          </p:cNvPr>
          <p:cNvSpPr txBox="1">
            <a:spLocks/>
          </p:cNvSpPr>
          <p:nvPr/>
        </p:nvSpPr>
        <p:spPr>
          <a:xfrm>
            <a:off x="774867" y="405855"/>
            <a:ext cx="10550013" cy="798836"/>
          </a:xfrm>
          <a:prstGeom prst="rect">
            <a:avLst/>
          </a:prstGeom>
        </p:spPr>
        <p:txBody>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dirty="0"/>
              <a:t>Key themes emerging from the interviews and other research</a:t>
            </a:r>
          </a:p>
        </p:txBody>
      </p:sp>
      <p:sp>
        <p:nvSpPr>
          <p:cNvPr id="4" name="CuadroTexto 6">
            <a:extLst>
              <a:ext uri="{FF2B5EF4-FFF2-40B4-BE49-F238E27FC236}">
                <a16:creationId xmlns:a16="http://schemas.microsoft.com/office/drawing/2014/main" id="{9AB5D1DA-9819-1C85-E1C8-73115941483C}"/>
              </a:ext>
            </a:extLst>
          </p:cNvPr>
          <p:cNvSpPr txBox="1"/>
          <p:nvPr/>
        </p:nvSpPr>
        <p:spPr>
          <a:xfrm>
            <a:off x="867120" y="1011937"/>
            <a:ext cx="10795635" cy="5709255"/>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1200"/>
              </a:spcBef>
              <a:spcAft>
                <a:spcPts val="0"/>
              </a:spcAft>
              <a:buClrTx/>
              <a:buSzTx/>
              <a:buFontTx/>
              <a:buAutoNum type="arabicPeriod"/>
              <a:tabLst/>
              <a:defRPr/>
            </a:pPr>
            <a:r>
              <a:rPr kumimoji="0" lang="en-US" sz="1200" b="1" i="0" u="none" strike="noStrike" kern="1200" cap="none" spc="0" normalizeH="0" baseline="0" noProof="0" dirty="0">
                <a:ln>
                  <a:noFill/>
                </a:ln>
                <a:solidFill>
                  <a:srgbClr val="304258"/>
                </a:solidFill>
                <a:effectLst/>
                <a:uLnTx/>
                <a:uFillTx/>
                <a:latin typeface="Poppins"/>
                <a:ea typeface="Lato"/>
                <a:cs typeface="Arial"/>
              </a:rPr>
              <a:t>The </a:t>
            </a:r>
            <a:r>
              <a:rPr kumimoji="0" lang="en-US" sz="1200" b="1" i="0" u="sng" strike="noStrike" kern="1200" cap="none" spc="0" normalizeH="0" baseline="0" noProof="0" dirty="0">
                <a:ln>
                  <a:noFill/>
                </a:ln>
                <a:solidFill>
                  <a:srgbClr val="304258"/>
                </a:solidFill>
                <a:effectLst/>
                <a:uLnTx/>
                <a:uFillTx/>
                <a:latin typeface="Poppins"/>
                <a:ea typeface="Lato"/>
                <a:cs typeface="Arial"/>
              </a:rPr>
              <a:t>affluent-travel</a:t>
            </a:r>
            <a:r>
              <a:rPr kumimoji="0" lang="en-US" sz="1200" b="1" i="0" u="none" strike="noStrike" kern="1200" cap="none" spc="0" normalizeH="0" baseline="0" noProof="0" dirty="0">
                <a:ln>
                  <a:noFill/>
                </a:ln>
                <a:solidFill>
                  <a:srgbClr val="304258"/>
                </a:solidFill>
                <a:effectLst/>
                <a:uLnTx/>
                <a:uFillTx/>
                <a:latin typeface="Poppins"/>
                <a:ea typeface="Lato"/>
                <a:cs typeface="Arial"/>
              </a:rPr>
              <a:t> population is comprised of deal-seekers, convenience-valuers, and brand-loyalists.</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Cruise Line X’s one &amp; dones are mostly deal-seekers. Several on Cruise Line X’s prospect list are too.</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Others are convenience-valuers who need variety, more time, or were turned off by a poor experience with Cruise Line X.</a:t>
            </a:r>
          </a:p>
          <a:p>
            <a:pPr marL="342900" marR="0" lvl="0" indent="-342900" algn="l" defTabSz="914400" rtl="0" eaLnBrk="1" fontAlgn="auto" latinLnBrk="0" hangingPunct="1">
              <a:lnSpc>
                <a:spcPct val="100000"/>
              </a:lnSpc>
              <a:spcBef>
                <a:spcPts val="1200"/>
              </a:spcBef>
              <a:spcAft>
                <a:spcPts val="0"/>
              </a:spcAft>
              <a:buClrTx/>
              <a:buSzTx/>
              <a:buFontTx/>
              <a:buAutoNum type="arabicPeriod"/>
              <a:tabLst/>
              <a:defRPr/>
            </a:pPr>
            <a:r>
              <a:rPr kumimoji="0" lang="en-US" sz="1200" b="1" i="0" u="none" strike="noStrike" kern="1200" cap="none" spc="0" normalizeH="0" baseline="0" noProof="0" dirty="0">
                <a:ln>
                  <a:noFill/>
                </a:ln>
                <a:solidFill>
                  <a:srgbClr val="304258"/>
                </a:solidFill>
                <a:effectLst/>
                <a:uLnTx/>
                <a:uFillTx/>
                <a:latin typeface="Poppins"/>
                <a:ea typeface="Lato"/>
                <a:cs typeface="Arial"/>
              </a:rPr>
              <a:t>The majority (~70%</a:t>
            </a:r>
            <a:r>
              <a:rPr kumimoji="0" lang="en-US" sz="1200" b="0" i="0" u="none" strike="noStrike" kern="1200" cap="none" spc="0" normalizeH="0" baseline="0" noProof="0" dirty="0">
                <a:ln>
                  <a:noFill/>
                </a:ln>
                <a:solidFill>
                  <a:srgbClr val="304258"/>
                </a:solidFill>
                <a:effectLst/>
                <a:uLnTx/>
                <a:uFillTx/>
                <a:latin typeface="Poppins"/>
                <a:ea typeface="Lato"/>
                <a:cs typeface="Arial"/>
              </a:rPr>
              <a:t>*</a:t>
            </a:r>
            <a:r>
              <a:rPr kumimoji="0" lang="en-US" sz="1200" b="1" i="0" u="none" strike="noStrike" kern="1200" cap="none" spc="0" normalizeH="0" baseline="0" noProof="0" dirty="0">
                <a:ln>
                  <a:noFill/>
                </a:ln>
                <a:solidFill>
                  <a:srgbClr val="304258"/>
                </a:solidFill>
                <a:effectLst/>
                <a:uLnTx/>
                <a:uFillTx/>
                <a:latin typeface="Poppins"/>
                <a:ea typeface="Lato"/>
                <a:cs typeface="Arial"/>
              </a:rPr>
              <a:t>) of affluent travelers have never cruised, while only ~3% have experienced a luxury cruise</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People who have never cruised have objections, and some such as fear of “cabin-fever”, “seasickness”, “being bored”, and “lack of flexibility” can be addressed</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Most affluent travelers who have never explored luxury cruising or Cruise Line X would find it satisfies several of their travel needs such as itinerary, convenience, luxury, and personalization</a:t>
            </a:r>
          </a:p>
          <a:p>
            <a:pPr marL="342900" marR="0" lvl="0" indent="-342900" algn="l" defTabSz="914400" rtl="0" eaLnBrk="1" fontAlgn="auto" latinLnBrk="0" hangingPunct="1">
              <a:lnSpc>
                <a:spcPct val="100000"/>
              </a:lnSpc>
              <a:spcBef>
                <a:spcPts val="1200"/>
              </a:spcBef>
              <a:spcAft>
                <a:spcPts val="0"/>
              </a:spcAft>
              <a:buClrTx/>
              <a:buSzTx/>
              <a:buFont typeface="+mj-lt"/>
              <a:buAutoNum type="arabicPeriod"/>
              <a:tabLst/>
              <a:defRPr/>
            </a:pPr>
            <a:r>
              <a:rPr kumimoji="0" lang="en-US" sz="1200" b="1" i="0" u="sng" strike="noStrike" kern="1200" cap="none" spc="0" normalizeH="0" baseline="0" noProof="0" dirty="0">
                <a:ln>
                  <a:noFill/>
                </a:ln>
                <a:solidFill>
                  <a:srgbClr val="304258"/>
                </a:solidFill>
                <a:effectLst/>
                <a:uLnTx/>
                <a:uFillTx/>
                <a:latin typeface="Poppins"/>
                <a:ea typeface="Lato"/>
                <a:cs typeface="Arial"/>
              </a:rPr>
              <a:t>Luxury-cruise travelers </a:t>
            </a:r>
            <a:r>
              <a:rPr kumimoji="0" lang="en-US" sz="1200" b="1" i="0" u="none" strike="noStrike" kern="1200" cap="none" spc="0" normalizeH="0" baseline="0" noProof="0" dirty="0">
                <a:ln>
                  <a:noFill/>
                </a:ln>
                <a:solidFill>
                  <a:srgbClr val="304258"/>
                </a:solidFill>
                <a:effectLst/>
                <a:uLnTx/>
                <a:uFillTx/>
                <a:latin typeface="Poppins"/>
                <a:ea typeface="Lato"/>
                <a:cs typeface="Arial"/>
              </a:rPr>
              <a:t>have a highly heterogeneous set of needs and preferences</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Luxury cruise travelers are a heterogenous group and have a wide range of needs (e.g., itinerary, cabin, excursions, personalization, seamlessness and flexibility )</a:t>
            </a:r>
          </a:p>
          <a:p>
            <a:pPr marL="800100" marR="0" lvl="1" indent="-342900" algn="l" defTabSz="914400" rtl="0" eaLnBrk="1" fontAlgn="auto" latinLnBrk="0" hangingPunct="1">
              <a:lnSpc>
                <a:spcPct val="100000"/>
              </a:lnSpc>
              <a:spcBef>
                <a:spcPts val="6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For luxury-cruise travelers, out of the myriad of factor driving choice and satisfaction, guests have highlighted key differentiators…(the service is the main one for Cruise Line X, and there’s details such as a high-tech ice-cream machine)</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and “can’t fumble” table-stakes. (a cheap wine bottle, one moment of “unfair” treatment, “intrusive upselling”, misrepresenting the itinerary or guest profile) </a:t>
            </a:r>
          </a:p>
          <a:p>
            <a:pPr marL="342900" marR="0" lvl="0" indent="-342900" algn="l" defTabSz="914400" rtl="0" eaLnBrk="1" fontAlgn="auto" latinLnBrk="0" hangingPunct="1">
              <a:lnSpc>
                <a:spcPct val="100000"/>
              </a:lnSpc>
              <a:spcBef>
                <a:spcPts val="1200"/>
              </a:spcBef>
              <a:spcAft>
                <a:spcPts val="0"/>
              </a:spcAft>
              <a:buClrTx/>
              <a:buSzTx/>
              <a:buFontTx/>
              <a:buAutoNum type="arabicPeriod"/>
              <a:tabLst/>
              <a:defRPr/>
            </a:pPr>
            <a:r>
              <a:rPr kumimoji="0" lang="en-US" sz="1200" b="1" i="0" u="none" strike="noStrike" kern="1200" cap="none" spc="0" normalizeH="0" baseline="0" noProof="0" dirty="0">
                <a:ln>
                  <a:noFill/>
                </a:ln>
                <a:solidFill>
                  <a:srgbClr val="304258"/>
                </a:solidFill>
                <a:effectLst/>
                <a:uLnTx/>
                <a:uFillTx/>
                <a:latin typeface="Poppins"/>
                <a:ea typeface="Lato"/>
                <a:cs typeface="Arial"/>
              </a:rPr>
              <a:t>Travelers are overwhelmed by choice and want support in selecting and evaluating their options.</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Travelers need a curated set of options from a trusted source that are easy to evaluate.</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Travelers will always evaluate the bang for the buck and expect their booking provider to ease the selection and evaluation process.</a:t>
            </a:r>
          </a:p>
          <a:p>
            <a:pPr marL="800100" marR="0" lvl="1" indent="-342900" algn="l" defTabSz="914400" rtl="0" eaLnBrk="1" fontAlgn="auto" latinLnBrk="0" hangingPunct="1">
              <a:lnSpc>
                <a:spcPct val="100000"/>
              </a:lnSpc>
              <a:spcBef>
                <a:spcPts val="1200"/>
              </a:spcBef>
              <a:spcAft>
                <a:spcPts val="0"/>
              </a:spcAft>
              <a:buClrTx/>
              <a:buSzTx/>
              <a:buFont typeface="+mj-lt"/>
              <a:buAutoNum type="alphaLcParenR"/>
              <a:tabLst/>
              <a:defRPr/>
            </a:pPr>
            <a:r>
              <a:rPr kumimoji="0" lang="en-US" sz="1200" b="0" i="0" u="none" strike="noStrike" kern="1200" cap="none" spc="0" normalizeH="0" baseline="0" noProof="0" dirty="0">
                <a:ln>
                  <a:noFill/>
                </a:ln>
                <a:solidFill>
                  <a:srgbClr val="304258"/>
                </a:solidFill>
                <a:effectLst/>
                <a:uLnTx/>
                <a:uFillTx/>
                <a:latin typeface="Poppins"/>
                <a:ea typeface="Lato"/>
                <a:cs typeface="Arial"/>
              </a:rPr>
              <a:t>For convenience valuers, there are expectations for luxury brands to communicate as such, consistently between channels.</a:t>
            </a:r>
          </a:p>
        </p:txBody>
      </p:sp>
      <p:sp>
        <p:nvSpPr>
          <p:cNvPr id="8" name="Rectángulo 7">
            <a:extLst>
              <a:ext uri="{FF2B5EF4-FFF2-40B4-BE49-F238E27FC236}">
                <a16:creationId xmlns:a16="http://schemas.microsoft.com/office/drawing/2014/main" id="{3E4AC76F-5938-4B8F-B4C3-A8B99125BAEA}"/>
              </a:ext>
            </a:extLst>
          </p:cNvPr>
          <p:cNvSpPr/>
          <p:nvPr/>
        </p:nvSpPr>
        <p:spPr>
          <a:xfrm>
            <a:off x="11168961" y="81143"/>
            <a:ext cx="923026" cy="218657"/>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a:ea typeface="+mn-ea"/>
                <a:cs typeface="+mn-cs"/>
              </a:rPr>
              <a:t>Example</a:t>
            </a:r>
          </a:p>
        </p:txBody>
      </p:sp>
      <p:sp>
        <p:nvSpPr>
          <p:cNvPr id="3" name="TextBox 2">
            <a:extLst>
              <a:ext uri="{FF2B5EF4-FFF2-40B4-BE49-F238E27FC236}">
                <a16:creationId xmlns:a16="http://schemas.microsoft.com/office/drawing/2014/main" id="{AE09AC24-4AC9-7DC5-FEE9-5BD5F9CA4F05}"/>
              </a:ext>
            </a:extLst>
          </p:cNvPr>
          <p:cNvSpPr txBox="1"/>
          <p:nvPr/>
        </p:nvSpPr>
        <p:spPr>
          <a:xfrm>
            <a:off x="8839185" y="833736"/>
            <a:ext cx="3264035" cy="246221"/>
          </a:xfrm>
          <a:prstGeom prst="rect">
            <a:avLst/>
          </a:prstGeom>
          <a:noFill/>
        </p:spPr>
        <p:txBody>
          <a:bodyPr wrap="none" rtlCol="0">
            <a:spAutoFit/>
          </a:bodyPr>
          <a:lstStyle/>
          <a:p>
            <a:r>
              <a:rPr lang="en-US" sz="1000" b="1" dirty="0">
                <a:solidFill>
                  <a:schemeClr val="tx2"/>
                </a:solidFill>
              </a:rPr>
              <a:t>CONTENT ADJUSTED TO PROTECT CONFIDENTIALITY</a:t>
            </a:r>
          </a:p>
        </p:txBody>
      </p:sp>
      <p:grpSp>
        <p:nvGrpSpPr>
          <p:cNvPr id="6" name="Group 5">
            <a:extLst>
              <a:ext uri="{FF2B5EF4-FFF2-40B4-BE49-F238E27FC236}">
                <a16:creationId xmlns:a16="http://schemas.microsoft.com/office/drawing/2014/main" id="{E2B41DE0-BE43-83BC-F7D1-31F0A6EA51ED}"/>
              </a:ext>
            </a:extLst>
          </p:cNvPr>
          <p:cNvGrpSpPr/>
          <p:nvPr/>
        </p:nvGrpSpPr>
        <p:grpSpPr>
          <a:xfrm>
            <a:off x="8853188" y="839084"/>
            <a:ext cx="3141553" cy="266640"/>
            <a:chOff x="8853189" y="1020059"/>
            <a:chExt cx="888390" cy="235526"/>
          </a:xfrm>
        </p:grpSpPr>
        <p:cxnSp>
          <p:nvCxnSpPr>
            <p:cNvPr id="7" name="Straight Connector 6">
              <a:extLst>
                <a:ext uri="{FF2B5EF4-FFF2-40B4-BE49-F238E27FC236}">
                  <a16:creationId xmlns:a16="http://schemas.microsoft.com/office/drawing/2014/main" id="{2AA2DA94-2D04-6700-F9EE-63B37EFE762E}"/>
                </a:ext>
              </a:extLst>
            </p:cNvPr>
            <p:cNvCxnSpPr>
              <a:cxnSpLocks/>
            </p:cNvCxnSpPr>
            <p:nvPr/>
          </p:nvCxnSpPr>
          <p:spPr>
            <a:xfrm>
              <a:off x="8853189" y="1255585"/>
              <a:ext cx="8883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3BC304E-675B-4523-2BBF-8676339F1054}"/>
                </a:ext>
              </a:extLst>
            </p:cNvPr>
            <p:cNvCxnSpPr>
              <a:cxnSpLocks/>
            </p:cNvCxnSpPr>
            <p:nvPr/>
          </p:nvCxnSpPr>
          <p:spPr>
            <a:xfrm>
              <a:off x="8853189" y="1020059"/>
              <a:ext cx="88839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8711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ángulo 254">
            <a:extLst>
              <a:ext uri="{FF2B5EF4-FFF2-40B4-BE49-F238E27FC236}">
                <a16:creationId xmlns:a16="http://schemas.microsoft.com/office/drawing/2014/main" id="{BF801C84-8C0C-F330-D65F-9CB048C643ED}"/>
              </a:ext>
            </a:extLst>
          </p:cNvPr>
          <p:cNvSpPr/>
          <p:nvPr/>
        </p:nvSpPr>
        <p:spPr>
          <a:xfrm>
            <a:off x="-20573" y="-77821"/>
            <a:ext cx="4008938" cy="5461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50" name="bg object 16">
            <a:extLst>
              <a:ext uri="{FF2B5EF4-FFF2-40B4-BE49-F238E27FC236}">
                <a16:creationId xmlns:a16="http://schemas.microsoft.com/office/drawing/2014/main" id="{B2B6884F-5F3A-E0D1-E0AC-5852BF5DAE2C}"/>
              </a:ext>
            </a:extLst>
          </p:cNvPr>
          <p:cNvSpPr/>
          <p:nvPr/>
        </p:nvSpPr>
        <p:spPr>
          <a:xfrm>
            <a:off x="8541072" y="-12028"/>
            <a:ext cx="3672148" cy="1353956"/>
          </a:xfrm>
          <a:custGeom>
            <a:avLst/>
            <a:gdLst/>
            <a:ahLst/>
            <a:cxnLst/>
            <a:rect l="l" t="t" r="r" b="b"/>
            <a:pathLst>
              <a:path w="3664584" h="1221739">
                <a:moveTo>
                  <a:pt x="0" y="1221460"/>
                </a:moveTo>
                <a:lnTo>
                  <a:pt x="3664381" y="1221460"/>
                </a:lnTo>
                <a:lnTo>
                  <a:pt x="3664381" y="0"/>
                </a:lnTo>
                <a:lnTo>
                  <a:pt x="0" y="0"/>
                </a:lnTo>
                <a:lnTo>
                  <a:pt x="0" y="1221460"/>
                </a:lnTo>
                <a:close/>
              </a:path>
            </a:pathLst>
          </a:custGeom>
          <a:solidFill>
            <a:srgbClr val="8A88C7"/>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3" name="bg object 19">
            <a:extLst>
              <a:ext uri="{FF2B5EF4-FFF2-40B4-BE49-F238E27FC236}">
                <a16:creationId xmlns:a16="http://schemas.microsoft.com/office/drawing/2014/main" id="{795E4931-AE54-AEC7-628B-40C432ED2CD7}"/>
              </a:ext>
            </a:extLst>
          </p:cNvPr>
          <p:cNvSpPr/>
          <p:nvPr/>
        </p:nvSpPr>
        <p:spPr>
          <a:xfrm>
            <a:off x="3582598" y="-137859"/>
            <a:ext cx="4995795" cy="5550489"/>
          </a:xfrm>
          <a:custGeom>
            <a:avLst/>
            <a:gdLst/>
            <a:ahLst/>
            <a:cxnLst/>
            <a:rect l="l" t="t" r="r" b="b"/>
            <a:pathLst>
              <a:path w="8183880" h="2945765">
                <a:moveTo>
                  <a:pt x="8183270" y="0"/>
                </a:moveTo>
                <a:lnTo>
                  <a:pt x="0" y="0"/>
                </a:lnTo>
                <a:lnTo>
                  <a:pt x="0" y="2945485"/>
                </a:lnTo>
                <a:lnTo>
                  <a:pt x="8183270" y="2945485"/>
                </a:lnTo>
                <a:lnTo>
                  <a:pt x="8183270" y="0"/>
                </a:lnTo>
                <a:close/>
              </a:path>
            </a:pathLst>
          </a:custGeom>
          <a:solidFill>
            <a:srgbClr val="8980F6"/>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254" name="bg object 20">
            <a:extLst>
              <a:ext uri="{FF2B5EF4-FFF2-40B4-BE49-F238E27FC236}">
                <a16:creationId xmlns:a16="http://schemas.microsoft.com/office/drawing/2014/main" id="{87300C3D-5135-1B2B-0EDC-2E9D4111661B}"/>
              </a:ext>
            </a:extLst>
          </p:cNvPr>
          <p:cNvSpPr/>
          <p:nvPr/>
        </p:nvSpPr>
        <p:spPr>
          <a:xfrm>
            <a:off x="-20572" y="5383407"/>
            <a:ext cx="8598966" cy="1623830"/>
          </a:xfrm>
          <a:custGeom>
            <a:avLst/>
            <a:gdLst/>
            <a:ahLst/>
            <a:cxnLst/>
            <a:rect l="l" t="t" r="r" b="b"/>
            <a:pathLst>
              <a:path w="12193270" h="1400175">
                <a:moveTo>
                  <a:pt x="12193206" y="0"/>
                </a:moveTo>
                <a:lnTo>
                  <a:pt x="0" y="0"/>
                </a:lnTo>
                <a:lnTo>
                  <a:pt x="0" y="1399616"/>
                </a:lnTo>
                <a:lnTo>
                  <a:pt x="12193206" y="1399616"/>
                </a:lnTo>
                <a:lnTo>
                  <a:pt x="12193206" y="0"/>
                </a:lnTo>
                <a:close/>
              </a:path>
            </a:pathLst>
          </a:custGeom>
          <a:solidFill>
            <a:srgbClr val="412E91"/>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354"/>
              </a:solidFill>
              <a:effectLst/>
              <a:uLnTx/>
              <a:uFillTx/>
              <a:latin typeface="Poppins Light"/>
              <a:ea typeface="+mn-ea"/>
              <a:cs typeface="+mn-cs"/>
            </a:endParaRPr>
          </a:p>
        </p:txBody>
      </p:sp>
      <p:sp>
        <p:nvSpPr>
          <p:cNvPr id="192" name="object 2">
            <a:extLst>
              <a:ext uri="{FF2B5EF4-FFF2-40B4-BE49-F238E27FC236}">
                <a16:creationId xmlns:a16="http://schemas.microsoft.com/office/drawing/2014/main" id="{AB358DD3-4D52-0F22-8DE3-EC16CA46AF2B}"/>
              </a:ext>
            </a:extLst>
          </p:cNvPr>
          <p:cNvSpPr txBox="1"/>
          <p:nvPr/>
        </p:nvSpPr>
        <p:spPr>
          <a:xfrm>
            <a:off x="918477" y="1191102"/>
            <a:ext cx="1255503" cy="382797"/>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lang="en-US" sz="2400" b="1" i="0" u="none" strike="noStrike" kern="1200" cap="none" spc="0" normalizeH="0" baseline="0" noProof="0" dirty="0">
                <a:ln>
                  <a:noFill/>
                </a:ln>
                <a:solidFill>
                  <a:srgbClr val="8980F6"/>
                </a:solidFill>
                <a:effectLst/>
                <a:uLnTx/>
                <a:uFillTx/>
                <a:latin typeface="Poppins" pitchFamily="2" charset="77"/>
                <a:ea typeface="+mn-ea"/>
                <a:cs typeface="Poppins" pitchFamily="2" charset="77"/>
              </a:rPr>
              <a:t>PHASE</a:t>
            </a:r>
            <a:endParaRPr kumimoji="0" lang="en-US" sz="2400" b="1" i="0" u="none" strike="noStrike" kern="1200" cap="none" spc="0" normalizeH="0" baseline="0" noProof="0" dirty="0">
              <a:ln>
                <a:noFill/>
              </a:ln>
              <a:solidFill>
                <a:srgbClr val="545354"/>
              </a:solidFill>
              <a:effectLst/>
              <a:uLnTx/>
              <a:uFillTx/>
              <a:latin typeface="Poppins" pitchFamily="2" charset="77"/>
              <a:ea typeface="+mn-ea"/>
              <a:cs typeface="Poppins" pitchFamily="2" charset="77"/>
            </a:endParaRPr>
          </a:p>
        </p:txBody>
      </p:sp>
      <p:sp>
        <p:nvSpPr>
          <p:cNvPr id="193" name="object 3">
            <a:extLst>
              <a:ext uri="{FF2B5EF4-FFF2-40B4-BE49-F238E27FC236}">
                <a16:creationId xmlns:a16="http://schemas.microsoft.com/office/drawing/2014/main" id="{1EE053BD-7733-BC77-6A21-F24185BC521C}"/>
              </a:ext>
            </a:extLst>
          </p:cNvPr>
          <p:cNvSpPr txBox="1"/>
          <p:nvPr/>
        </p:nvSpPr>
        <p:spPr>
          <a:xfrm>
            <a:off x="350681" y="1643045"/>
            <a:ext cx="3432143" cy="764312"/>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Market </a:t>
            </a:r>
            <a:r>
              <a:rPr lang="es-CO" sz="1200" dirty="0">
                <a:solidFill>
                  <a:srgbClr val="535353"/>
                </a:solidFill>
                <a:latin typeface="Poppins Medium" pitchFamily="2" charset="77"/>
                <a:cs typeface="Poppins Medium" pitchFamily="2" charset="77"/>
              </a:rPr>
              <a:t>size analysis</a:t>
            </a:r>
            <a:r>
              <a:rPr kumimoji="0" lang="es-CO"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35353"/>
                </a:solidFill>
                <a:effectLst/>
                <a:uLnTx/>
                <a:uFillTx/>
                <a:latin typeface="Poppins Medium" pitchFamily="2" charset="77"/>
                <a:ea typeface="+mn-ea"/>
                <a:cs typeface="Poppins Medium" pitchFamily="2" charset="77"/>
              </a:rPr>
              <a:t>Duration: 1 week.</a:t>
            </a:r>
          </a:p>
          <a:p>
            <a:pPr marL="12700" marR="5080" lvl="0" indent="0" algn="l" defTabSz="914400" rtl="0" eaLnBrk="1" fontAlgn="auto" latinLnBrk="0" hangingPunct="1">
              <a:lnSpc>
                <a:spcPct val="100000"/>
              </a:lnSpc>
              <a:spcBef>
                <a:spcPts val="100"/>
              </a:spcBef>
              <a:spcAft>
                <a:spcPts val="0"/>
              </a:spcAft>
              <a:buClrTx/>
              <a:buSzTx/>
              <a:buFontTx/>
              <a:buNone/>
              <a:tabLst/>
              <a:defRPr/>
            </a:pPr>
            <a:endParaRPr kumimoji="0" lang="en-US" sz="1200" b="0" i="0" u="none" strike="noStrike" kern="1200" cap="none" spc="0" normalizeH="0" baseline="0" noProof="0" dirty="0">
              <a:ln>
                <a:noFill/>
              </a:ln>
              <a:solidFill>
                <a:srgbClr val="545354"/>
              </a:solidFill>
              <a:effectLst/>
              <a:uLnTx/>
              <a:uFillTx/>
              <a:latin typeface="Poppins Medium" pitchFamily="2" charset="77"/>
              <a:ea typeface="+mn-ea"/>
              <a:cs typeface="Poppins Medium" pitchFamily="2" charset="77"/>
            </a:endParaRPr>
          </a:p>
        </p:txBody>
      </p:sp>
      <p:sp>
        <p:nvSpPr>
          <p:cNvPr id="195" name="object 5">
            <a:extLst>
              <a:ext uri="{FF2B5EF4-FFF2-40B4-BE49-F238E27FC236}">
                <a16:creationId xmlns:a16="http://schemas.microsoft.com/office/drawing/2014/main" id="{BDA64AEE-7204-6E8E-5A04-E0380B31472E}"/>
              </a:ext>
            </a:extLst>
          </p:cNvPr>
          <p:cNvSpPr txBox="1"/>
          <p:nvPr/>
        </p:nvSpPr>
        <p:spPr>
          <a:xfrm>
            <a:off x="4183010" y="384882"/>
            <a:ext cx="4209027" cy="295466"/>
          </a:xfrm>
          <a:prstGeom prst="rect">
            <a:avLst/>
          </a:prstGeom>
        </p:spPr>
        <p:txBody>
          <a:bodyPr vert="horz" wrap="square" lIns="0" tIns="38100" rIns="0" bIns="0" rtlCol="0">
            <a:spAutoFit/>
          </a:bodyPr>
          <a:lstStyle/>
          <a:p>
            <a:pPr marL="12700" marR="5080" lvl="0" indent="0" algn="l" defTabSz="914400" rtl="0" eaLnBrk="1" fontAlgn="auto" latinLnBrk="0" hangingPunct="1">
              <a:lnSpc>
                <a:spcPts val="2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412E91"/>
                </a:solidFill>
                <a:effectLst/>
                <a:uLnTx/>
                <a:uFillTx/>
                <a:latin typeface="Poppins" pitchFamily="2" charset="77"/>
                <a:ea typeface="+mn-ea"/>
                <a:cs typeface="Poppins" pitchFamily="2" charset="77"/>
              </a:rPr>
              <a:t>Action details</a:t>
            </a:r>
            <a:endParaRPr kumimoji="0" lang="en-US" sz="1800" b="0" i="0" u="none" strike="noStrike" kern="1200" cap="none" spc="0" normalizeH="0" baseline="0" noProof="0" dirty="0">
              <a:ln>
                <a:noFill/>
              </a:ln>
              <a:solidFill>
                <a:srgbClr val="412E91"/>
              </a:solidFill>
              <a:effectLst/>
              <a:uLnTx/>
              <a:uFillTx/>
              <a:latin typeface="Poppins" pitchFamily="2" charset="77"/>
              <a:ea typeface="+mn-ea"/>
              <a:cs typeface="Poppins" pitchFamily="2" charset="77"/>
            </a:endParaRPr>
          </a:p>
        </p:txBody>
      </p:sp>
      <p:sp>
        <p:nvSpPr>
          <p:cNvPr id="199" name="object 9">
            <a:extLst>
              <a:ext uri="{FF2B5EF4-FFF2-40B4-BE49-F238E27FC236}">
                <a16:creationId xmlns:a16="http://schemas.microsoft.com/office/drawing/2014/main" id="{B158BF8A-EB5E-D813-1DD2-A48931D7125D}"/>
              </a:ext>
            </a:extLst>
          </p:cNvPr>
          <p:cNvSpPr txBox="1"/>
          <p:nvPr/>
        </p:nvSpPr>
        <p:spPr>
          <a:xfrm>
            <a:off x="1364918" y="6201204"/>
            <a:ext cx="7213475" cy="382156"/>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Comprehend the market size to determine the current and potential market opportunities to strategically position </a:t>
            </a:r>
            <a:r>
              <a:rPr kumimoji="0" lang="en-US" sz="1200" b="0" i="0" u="none" strike="noStrike" kern="100" cap="none" spc="0" normalizeH="0" baseline="0" noProof="0" dirty="0" err="1">
                <a:ln>
                  <a:noFill/>
                </a:ln>
                <a:solidFill>
                  <a:srgbClr val="FFFFFF"/>
                </a:solidFill>
                <a:effectLst/>
                <a:uLnTx/>
                <a:uFillTx/>
                <a:latin typeface="Poppins"/>
                <a:ea typeface="Calibri" panose="020F0502020204030204" pitchFamily="34" charset="0"/>
                <a:cs typeface="Poppins Medium" pitchFamily="2" charset="77"/>
              </a:rPr>
              <a:t>Odevo</a:t>
            </a:r>
            <a:r>
              <a:rPr kumimoji="0" lang="en-US"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 for growth and expansion.</a:t>
            </a:r>
            <a:endParaRPr kumimoji="0" lang="es-419" sz="12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endParaRPr>
          </a:p>
        </p:txBody>
      </p:sp>
      <p:sp>
        <p:nvSpPr>
          <p:cNvPr id="200" name="object 10">
            <a:extLst>
              <a:ext uri="{FF2B5EF4-FFF2-40B4-BE49-F238E27FC236}">
                <a16:creationId xmlns:a16="http://schemas.microsoft.com/office/drawing/2014/main" id="{8C6AA9F5-FF9D-D505-3D6B-9A7D7F371F29}"/>
              </a:ext>
            </a:extLst>
          </p:cNvPr>
          <p:cNvSpPr txBox="1"/>
          <p:nvPr/>
        </p:nvSpPr>
        <p:spPr>
          <a:xfrm>
            <a:off x="8727428" y="53816"/>
            <a:ext cx="3336757" cy="894476"/>
          </a:xfrm>
          <a:prstGeom prst="rect">
            <a:avLst/>
          </a:prstGeom>
        </p:spPr>
        <p:txBody>
          <a:bodyPr vert="horz" wrap="square" lIns="0" tIns="154305"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Deliverable – Summary of understanding and analysis of Odevo’s diagnosis</a:t>
            </a:r>
          </a:p>
        </p:txBody>
      </p:sp>
      <p:sp>
        <p:nvSpPr>
          <p:cNvPr id="208" name="object 18">
            <a:extLst>
              <a:ext uri="{FF2B5EF4-FFF2-40B4-BE49-F238E27FC236}">
                <a16:creationId xmlns:a16="http://schemas.microsoft.com/office/drawing/2014/main" id="{DA81DA77-AF07-3822-A60C-F2F45DDD23F6}"/>
              </a:ext>
            </a:extLst>
          </p:cNvPr>
          <p:cNvSpPr txBox="1"/>
          <p:nvPr/>
        </p:nvSpPr>
        <p:spPr>
          <a:xfrm>
            <a:off x="3987545" y="1212499"/>
            <a:ext cx="4268150" cy="3865161"/>
          </a:xfrm>
          <a:prstGeom prst="rect">
            <a:avLst/>
          </a:prstGeom>
        </p:spPr>
        <p:txBody>
          <a:bodyPr vert="horz" wrap="square" lIns="0" tIns="12700" rIns="0" bIns="0" rtlCol="0" anchor="t">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n-US" sz="1100" b="1" i="0" u="none" strike="noStrike" kern="100" cap="none" spc="0" normalizeH="0" baseline="0" noProof="0" dirty="0">
                <a:ln>
                  <a:noFill/>
                </a:ln>
                <a:solidFill>
                  <a:srgbClr val="FFFFFF"/>
                </a:solidFill>
                <a:effectLst/>
                <a:uLnTx/>
                <a:uFillTx/>
                <a:latin typeface="Poppins"/>
                <a:ea typeface="Calibri"/>
                <a:cs typeface="Poppins ExtraLight"/>
              </a:rPr>
              <a:t>10 INTERNAL INTERVIEWS:</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Virtual video conference (Teams or Zoom)</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Duration: 45 min to 1 hour, per interview</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Selection: roles in strategy and operations within the company. </a:t>
            </a:r>
          </a:p>
          <a:p>
            <a:pPr marL="12700" marR="5080" lvl="0" algn="l" defTabSz="914400" rtl="0" eaLnBrk="1" fontAlgn="auto" latinLnBrk="0" hangingPunct="1">
              <a:lnSpc>
                <a:spcPct val="100000"/>
              </a:lnSpc>
              <a:spcBef>
                <a:spcPts val="100"/>
              </a:spcBef>
              <a:spcAft>
                <a:spcPts val="0"/>
              </a:spcAft>
              <a:buClrTx/>
              <a:buSzTx/>
              <a:tabLst/>
              <a:defRPr/>
            </a:pPr>
            <a:endParaRPr kumimoji="0" lang="en-US" sz="1100" b="0" i="0" u="none" strike="noStrike" kern="100" cap="none" spc="0" normalizeH="0" baseline="0" noProof="0" dirty="0">
              <a:ln>
                <a:noFill/>
              </a:ln>
              <a:solidFill>
                <a:srgbClr val="FFFFFF"/>
              </a:solidFill>
              <a:effectLst/>
              <a:uLnTx/>
              <a:uFillTx/>
              <a:latin typeface="Poppins"/>
              <a:ea typeface="Calibri"/>
              <a:cs typeface="Poppins ExtraLight"/>
            </a:endParaRPr>
          </a:p>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n-US" sz="1100" b="0" i="0" u="sng" strike="noStrike" kern="100" cap="none" spc="0" normalizeH="0" baseline="0" noProof="0" dirty="0">
                <a:ln>
                  <a:noFill/>
                </a:ln>
                <a:solidFill>
                  <a:srgbClr val="FFFFFF"/>
                </a:solidFill>
                <a:effectLst/>
                <a:uLnTx/>
                <a:uFillTx/>
                <a:latin typeface="Poppins"/>
                <a:ea typeface="Calibri"/>
                <a:cs typeface="Poppins ExtraLight"/>
              </a:rPr>
              <a:t>Main Topics: </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1" i="0" u="none" strike="noStrike" kern="100" cap="none" spc="0" normalizeH="0" baseline="0" noProof="0" dirty="0">
                <a:ln>
                  <a:noFill/>
                </a:ln>
                <a:solidFill>
                  <a:srgbClr val="FFFFFF"/>
                </a:solidFill>
                <a:effectLst/>
                <a:uLnTx/>
                <a:uFillTx/>
                <a:latin typeface="Poppins"/>
                <a:ea typeface="Calibri"/>
                <a:cs typeface="Poppins ExtraLight"/>
              </a:rPr>
              <a:t>Current market </a:t>
            </a:r>
            <a:r>
              <a:rPr lang="en-US" sz="1100" b="1" kern="100" dirty="0">
                <a:solidFill>
                  <a:srgbClr val="FFFFFF"/>
                </a:solidFill>
                <a:latin typeface="Poppins"/>
                <a:ea typeface="Calibri"/>
                <a:cs typeface="Poppins ExtraLight"/>
              </a:rPr>
              <a:t>understanding</a:t>
            </a:r>
            <a:r>
              <a:rPr kumimoji="0" lang="en-US" sz="1100" b="1" i="0" u="none" strike="noStrike" kern="100" cap="none" spc="0" normalizeH="0" baseline="0" noProof="0" dirty="0">
                <a:ln>
                  <a:noFill/>
                </a:ln>
                <a:solidFill>
                  <a:srgbClr val="FFFFFF"/>
                </a:solidFill>
                <a:effectLst/>
                <a:uLnTx/>
                <a:uFillTx/>
                <a:latin typeface="Poppins"/>
                <a:ea typeface="Calibri"/>
                <a:cs typeface="Poppins ExtraLight"/>
              </a:rPr>
              <a:t>: </a:t>
            </a: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Assess the perspectives on market trends, client needs, and competitive dynamics to gauge the company's current market understanding.</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1" i="0" u="none" strike="noStrike" kern="100" cap="none" spc="0" normalizeH="0" baseline="0" noProof="0" dirty="0">
                <a:ln>
                  <a:noFill/>
                </a:ln>
                <a:solidFill>
                  <a:srgbClr val="FFFFFF"/>
                </a:solidFill>
                <a:effectLst/>
                <a:uLnTx/>
                <a:uFillTx/>
                <a:latin typeface="Poppins"/>
                <a:ea typeface="Calibri"/>
                <a:cs typeface="Poppins ExtraLight"/>
              </a:rPr>
              <a:t>Challenges and pain points:</a:t>
            </a: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 Identify the key challenges and pain points the company faces in achieving its objectives.</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US" sz="1100" b="1" i="0" u="none" strike="noStrike" kern="100" cap="none" spc="0" normalizeH="0" baseline="0" noProof="0" dirty="0">
                <a:ln>
                  <a:noFill/>
                </a:ln>
                <a:solidFill>
                  <a:srgbClr val="FFFFFF"/>
                </a:solidFill>
                <a:effectLst/>
                <a:uLnTx/>
                <a:uFillTx/>
                <a:latin typeface="Poppins"/>
                <a:ea typeface="Calibri"/>
                <a:cs typeface="Poppins ExtraLight"/>
              </a:rPr>
              <a:t>Expectations and success metrics:</a:t>
            </a:r>
            <a:r>
              <a:rPr kumimoji="0" lang="en-US" sz="1100" b="0" i="0" u="none" strike="noStrike" kern="100" cap="none" spc="0" normalizeH="0" baseline="0" noProof="0" dirty="0">
                <a:ln>
                  <a:noFill/>
                </a:ln>
                <a:solidFill>
                  <a:srgbClr val="FFFFFF"/>
                </a:solidFill>
                <a:effectLst/>
                <a:uLnTx/>
                <a:uFillTx/>
                <a:latin typeface="Poppins"/>
                <a:ea typeface="Calibri"/>
                <a:cs typeface="Poppins ExtraLight"/>
              </a:rPr>
              <a:t> Discuss the company's expectations for the study and the metrics they consider critical for measuring success and driving continuous improvement.</a:t>
            </a:r>
          </a:p>
          <a:p>
            <a:pPr marL="184150" marR="508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kumimoji="0" lang="en-US" sz="1100" b="0" i="0" u="none" strike="noStrike" kern="100" cap="none" spc="0" normalizeH="0" baseline="0" noProof="0" dirty="0">
              <a:ln>
                <a:noFill/>
              </a:ln>
              <a:solidFill>
                <a:srgbClr val="FFFFFF"/>
              </a:solidFill>
              <a:effectLst/>
              <a:uLnTx/>
              <a:uFillTx/>
              <a:latin typeface="Poppins"/>
              <a:ea typeface="Calibri"/>
              <a:cs typeface="Poppins Extra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00" cap="none" spc="0" normalizeH="0" baseline="0" noProof="0" dirty="0">
                <a:ln>
                  <a:noFill/>
                </a:ln>
                <a:solidFill>
                  <a:srgbClr val="FFFFFF"/>
                </a:solidFill>
                <a:effectLst/>
                <a:uLnTx/>
                <a:uFillTx/>
                <a:latin typeface="Poppins Light"/>
                <a:ea typeface="+mn-lt"/>
                <a:cs typeface="Poppins Light"/>
              </a:rPr>
              <a:t>Note: The insights from the interviews will not be attributed to specific individuals to preserve the privacy and sensitivity of the respondents.</a:t>
            </a:r>
            <a:endParaRPr kumimoji="0" lang="en-US" sz="1800" b="0" i="0" u="none" strike="noStrike" kern="1200" cap="none" spc="0" normalizeH="0" baseline="0" noProof="0" dirty="0">
              <a:ln>
                <a:noFill/>
              </a:ln>
              <a:solidFill>
                <a:srgbClr val="FFFFFF"/>
              </a:solidFill>
              <a:effectLst/>
              <a:uLnTx/>
              <a:uFillTx/>
              <a:latin typeface="Poppins Light"/>
              <a:ea typeface="+mn-lt"/>
              <a:cs typeface="Poppins Light"/>
            </a:endParaRPr>
          </a:p>
          <a:p>
            <a:pPr marL="12700" marR="5080" lvl="0" indent="0" algn="l" defTabSz="914400" rtl="0" eaLnBrk="1" fontAlgn="auto" latinLnBrk="0" hangingPunct="1">
              <a:lnSpc>
                <a:spcPct val="100000"/>
              </a:lnSpc>
              <a:spcBef>
                <a:spcPts val="100"/>
              </a:spcBef>
              <a:spcAft>
                <a:spcPts val="0"/>
              </a:spcAft>
              <a:buClrTx/>
              <a:buSzTx/>
              <a:buFontTx/>
              <a:buNone/>
              <a:tabLst/>
              <a:defRPr/>
            </a:pPr>
            <a:endParaRPr kumimoji="0" lang="en-US" sz="1100" b="0" i="0" u="none" strike="noStrike" kern="100" cap="none" spc="0" normalizeH="0" baseline="0" noProof="0" dirty="0">
              <a:ln>
                <a:noFill/>
              </a:ln>
              <a:solidFill>
                <a:srgbClr val="FFFFFF"/>
              </a:solidFill>
              <a:effectLst/>
              <a:uLnTx/>
              <a:uFillTx/>
              <a:latin typeface="Poppins"/>
              <a:ea typeface="Calibri"/>
              <a:cs typeface="Poppins ExtraLight"/>
            </a:endParaRPr>
          </a:p>
        </p:txBody>
      </p:sp>
      <p:sp>
        <p:nvSpPr>
          <p:cNvPr id="246" name="object 56">
            <a:extLst>
              <a:ext uri="{FF2B5EF4-FFF2-40B4-BE49-F238E27FC236}">
                <a16:creationId xmlns:a16="http://schemas.microsoft.com/office/drawing/2014/main" id="{F218F018-D89C-BA38-01AA-60E17EAC352F}"/>
              </a:ext>
            </a:extLst>
          </p:cNvPr>
          <p:cNvSpPr txBox="1"/>
          <p:nvPr/>
        </p:nvSpPr>
        <p:spPr>
          <a:xfrm>
            <a:off x="292314" y="916900"/>
            <a:ext cx="853876" cy="77905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lang="en-US" sz="4950" b="1" i="0" u="none" strike="noStrike" kern="1200" cap="none" spc="-50" normalizeH="0" baseline="0" noProof="0" dirty="0">
                <a:ln>
                  <a:noFill/>
                </a:ln>
                <a:solidFill>
                  <a:srgbClr val="8980F6"/>
                </a:solidFill>
                <a:effectLst/>
                <a:uLnTx/>
                <a:uFillTx/>
                <a:latin typeface="Poppins Bold" panose="00000800000000000000" pitchFamily="2" charset="0"/>
                <a:ea typeface="+mn-ea"/>
                <a:cs typeface="Poppins Bold" panose="00000800000000000000" pitchFamily="2" charset="0"/>
              </a:rPr>
              <a:t>1</a:t>
            </a:r>
            <a:r>
              <a:rPr kumimoji="0" lang="en-US" sz="3000" b="0" i="0" u="none" strike="noStrike" kern="1200" cap="none" spc="-50" normalizeH="0" baseline="0" noProof="0" dirty="0">
                <a:ln>
                  <a:noFill/>
                </a:ln>
                <a:solidFill>
                  <a:srgbClr val="8980F6"/>
                </a:solidFill>
                <a:effectLst/>
                <a:uLnTx/>
                <a:uFillTx/>
                <a:latin typeface="Poppins Bold" panose="00000800000000000000" pitchFamily="2" charset="0"/>
                <a:ea typeface="+mn-ea"/>
                <a:cs typeface="Poppins Bold" panose="00000800000000000000" pitchFamily="2" charset="0"/>
              </a:rPr>
              <a:t>b</a:t>
            </a:r>
            <a:endParaRPr kumimoji="0" lang="en-US" sz="3000" b="0" i="0" u="none" strike="noStrike" kern="1200" cap="none" spc="0" normalizeH="0" baseline="0" noProof="0" dirty="0">
              <a:ln>
                <a:noFill/>
              </a:ln>
              <a:solidFill>
                <a:srgbClr val="545354"/>
              </a:solidFill>
              <a:effectLst/>
              <a:uLnTx/>
              <a:uFillTx/>
              <a:latin typeface="Poppins Bold" panose="00000800000000000000" pitchFamily="2" charset="0"/>
              <a:ea typeface="+mn-ea"/>
              <a:cs typeface="Poppins Bold" panose="00000800000000000000" pitchFamily="2" charset="0"/>
            </a:endParaRPr>
          </a:p>
        </p:txBody>
      </p:sp>
      <p:sp>
        <p:nvSpPr>
          <p:cNvPr id="271" name="Rectángulo 270">
            <a:extLst>
              <a:ext uri="{FF2B5EF4-FFF2-40B4-BE49-F238E27FC236}">
                <a16:creationId xmlns:a16="http://schemas.microsoft.com/office/drawing/2014/main" id="{6B871234-5775-ECE8-C0FD-6B94BD321F22}"/>
              </a:ext>
            </a:extLst>
          </p:cNvPr>
          <p:cNvSpPr/>
          <p:nvPr/>
        </p:nvSpPr>
        <p:spPr>
          <a:xfrm>
            <a:off x="3792270" y="1211346"/>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75" name="Rectángulo 274">
            <a:extLst>
              <a:ext uri="{FF2B5EF4-FFF2-40B4-BE49-F238E27FC236}">
                <a16:creationId xmlns:a16="http://schemas.microsoft.com/office/drawing/2014/main" id="{EDB40834-E02C-D6F9-195D-79312765383F}"/>
              </a:ext>
            </a:extLst>
          </p:cNvPr>
          <p:cNvSpPr/>
          <p:nvPr/>
        </p:nvSpPr>
        <p:spPr>
          <a:xfrm>
            <a:off x="3780863" y="2818522"/>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4" name="Triángulo 283">
            <a:extLst>
              <a:ext uri="{FF2B5EF4-FFF2-40B4-BE49-F238E27FC236}">
                <a16:creationId xmlns:a16="http://schemas.microsoft.com/office/drawing/2014/main" id="{A454517C-5191-C216-E2E2-1839A0C0D24D}"/>
              </a:ext>
            </a:extLst>
          </p:cNvPr>
          <p:cNvSpPr/>
          <p:nvPr/>
        </p:nvSpPr>
        <p:spPr>
          <a:xfrm rot="5400000">
            <a:off x="3545467" y="337457"/>
            <a:ext cx="538396" cy="464134"/>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6" name="Triángulo 285">
            <a:extLst>
              <a:ext uri="{FF2B5EF4-FFF2-40B4-BE49-F238E27FC236}">
                <a16:creationId xmlns:a16="http://schemas.microsoft.com/office/drawing/2014/main" id="{B5A01591-04DD-52AE-D1C5-A361D6800D63}"/>
              </a:ext>
            </a:extLst>
          </p:cNvPr>
          <p:cNvSpPr/>
          <p:nvPr/>
        </p:nvSpPr>
        <p:spPr>
          <a:xfrm rot="10800000">
            <a:off x="8727428" y="1224789"/>
            <a:ext cx="465624" cy="401400"/>
          </a:xfrm>
          <a:prstGeom prst="triangle">
            <a:avLst/>
          </a:prstGeom>
          <a:solidFill>
            <a:srgbClr val="8987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sp>
        <p:nvSpPr>
          <p:cNvPr id="289" name="TextBox 24">
            <a:extLst>
              <a:ext uri="{FF2B5EF4-FFF2-40B4-BE49-F238E27FC236}">
                <a16:creationId xmlns:a16="http://schemas.microsoft.com/office/drawing/2014/main" id="{3C760962-7B3E-FE6C-B1DF-715A5B17863A}"/>
              </a:ext>
            </a:extLst>
          </p:cNvPr>
          <p:cNvSpPr txBox="1"/>
          <p:nvPr/>
        </p:nvSpPr>
        <p:spPr>
          <a:xfrm>
            <a:off x="257960" y="5521195"/>
            <a:ext cx="4341253"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Objective of the phase: </a:t>
            </a:r>
            <a:r>
              <a:rPr kumimoji="0" lang="en-US" sz="1600" b="0" i="0" u="none" strike="noStrike" kern="100" cap="none" spc="0" normalizeH="0" baseline="0" noProof="0" dirty="0">
                <a:ln>
                  <a:noFill/>
                </a:ln>
                <a:solidFill>
                  <a:srgbClr val="FFFFFF"/>
                </a:solidFill>
                <a:effectLst/>
                <a:uLnTx/>
                <a:uFillTx/>
                <a:latin typeface="Poppins"/>
                <a:ea typeface="Calibri" panose="020F0502020204030204" pitchFamily="34" charset="0"/>
                <a:cs typeface="Poppins Medium" pitchFamily="2" charset="77"/>
              </a:rPr>
              <a:t>Market Analysis</a:t>
            </a:r>
          </a:p>
        </p:txBody>
      </p:sp>
      <p:sp>
        <p:nvSpPr>
          <p:cNvPr id="2" name="object 7">
            <a:extLst>
              <a:ext uri="{FF2B5EF4-FFF2-40B4-BE49-F238E27FC236}">
                <a16:creationId xmlns:a16="http://schemas.microsoft.com/office/drawing/2014/main" id="{DB99E360-8BFD-4687-D70E-0312C3BD02AC}"/>
              </a:ext>
            </a:extLst>
          </p:cNvPr>
          <p:cNvSpPr txBox="1">
            <a:spLocks/>
          </p:cNvSpPr>
          <p:nvPr/>
        </p:nvSpPr>
        <p:spPr>
          <a:xfrm>
            <a:off x="334679" y="515341"/>
            <a:ext cx="2541871" cy="407798"/>
          </a:xfrm>
          <a:prstGeom prst="rect">
            <a:avLst/>
          </a:prstGeom>
        </p:spPr>
        <p:txBody>
          <a:bodyPr vert="horz" wrap="square" lIns="0" tIns="71622"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412E91"/>
                </a:solidFill>
                <a:effectLst/>
                <a:uLnTx/>
                <a:uFillTx/>
                <a:latin typeface="Poppins" pitchFamily="2" charset="77"/>
                <a:ea typeface="+mj-ea"/>
                <a:cs typeface="Poppins" pitchFamily="2" charset="77"/>
              </a:rPr>
              <a:t>METHODOLOGY</a:t>
            </a:r>
          </a:p>
        </p:txBody>
      </p:sp>
      <p:pic>
        <p:nvPicPr>
          <p:cNvPr id="19" name="Imagen 18" descr="Imagen que contiene Círculo&#10;&#10;Descripción generada automáticamente">
            <a:extLst>
              <a:ext uri="{FF2B5EF4-FFF2-40B4-BE49-F238E27FC236}">
                <a16:creationId xmlns:a16="http://schemas.microsoft.com/office/drawing/2014/main" id="{C014B729-07A1-9FD9-8B39-8C2CF97F0499}"/>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88594" y="6021074"/>
            <a:ext cx="647714" cy="647714"/>
          </a:xfrm>
          <a:prstGeom prst="rect">
            <a:avLst/>
          </a:prstGeom>
        </p:spPr>
      </p:pic>
      <p:sp>
        <p:nvSpPr>
          <p:cNvPr id="6" name="Rectángulo 274">
            <a:extLst>
              <a:ext uri="{FF2B5EF4-FFF2-40B4-BE49-F238E27FC236}">
                <a16:creationId xmlns:a16="http://schemas.microsoft.com/office/drawing/2014/main" id="{2CFFD8FD-EB57-152E-D910-E685F4F1B8A8}"/>
              </a:ext>
            </a:extLst>
          </p:cNvPr>
          <p:cNvSpPr/>
          <p:nvPr/>
        </p:nvSpPr>
        <p:spPr>
          <a:xfrm>
            <a:off x="3800632" y="4356716"/>
            <a:ext cx="45719" cy="555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Light"/>
              <a:ea typeface="+mn-ea"/>
              <a:cs typeface="+mn-cs"/>
            </a:endParaRPr>
          </a:p>
        </p:txBody>
      </p:sp>
      <p:cxnSp>
        <p:nvCxnSpPr>
          <p:cNvPr id="10" name="Conector recto 9">
            <a:extLst>
              <a:ext uri="{FF2B5EF4-FFF2-40B4-BE49-F238E27FC236}">
                <a16:creationId xmlns:a16="http://schemas.microsoft.com/office/drawing/2014/main" id="{B92E686B-B3B4-FB7A-3C1B-A511EDB310AA}"/>
              </a:ext>
            </a:extLst>
          </p:cNvPr>
          <p:cNvCxnSpPr>
            <a:cxnSpLocks/>
          </p:cNvCxnSpPr>
          <p:nvPr/>
        </p:nvCxnSpPr>
        <p:spPr>
          <a:xfrm>
            <a:off x="4589688" y="5709522"/>
            <a:ext cx="28135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uadroTexto 3">
            <a:extLst>
              <a:ext uri="{FF2B5EF4-FFF2-40B4-BE49-F238E27FC236}">
                <a16:creationId xmlns:a16="http://schemas.microsoft.com/office/drawing/2014/main" id="{E1339E3C-BA00-8A1A-87BD-6AAD4EF1995B}"/>
              </a:ext>
            </a:extLst>
          </p:cNvPr>
          <p:cNvSpPr txBox="1"/>
          <p:nvPr/>
        </p:nvSpPr>
        <p:spPr>
          <a:xfrm>
            <a:off x="8810864" y="1638108"/>
            <a:ext cx="3253321" cy="110799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Market diagnosis based on internal opin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Analysis of interview data highlighting key insights from internal stakehold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Summary of insights and implications for </a:t>
            </a:r>
            <a:r>
              <a:rPr kumimoji="0" lang="en-US" sz="1100" b="0" i="0" u="none" strike="noStrike" kern="100" cap="none" spc="0" normalizeH="0" baseline="0" noProof="0" dirty="0" err="1">
                <a:ln>
                  <a:noFill/>
                </a:ln>
                <a:solidFill>
                  <a:srgbClr val="FFFFFF">
                    <a:lumMod val="50000"/>
                  </a:srgbClr>
                </a:solidFill>
                <a:effectLst/>
                <a:uLnTx/>
                <a:uFillTx/>
                <a:latin typeface="Poppins"/>
                <a:ea typeface="Calibri"/>
                <a:cs typeface="Poppins Medium"/>
              </a:rPr>
              <a:t>Odevo</a:t>
            </a:r>
            <a:r>
              <a:rPr kumimoji="0" lang="en-US" sz="1100" b="0" i="0" u="none" strike="noStrike" kern="100" cap="none" spc="0" normalizeH="0" baseline="0" noProof="0" dirty="0">
                <a:ln>
                  <a:noFill/>
                </a:ln>
                <a:solidFill>
                  <a:srgbClr val="FFFFFF">
                    <a:lumMod val="50000"/>
                  </a:srgbClr>
                </a:solidFill>
                <a:effectLst/>
                <a:uLnTx/>
                <a:uFillTx/>
                <a:latin typeface="Poppins"/>
                <a:ea typeface="Calibri"/>
                <a:cs typeface="Poppins Medium"/>
              </a:rPr>
              <a:t>.</a:t>
            </a:r>
          </a:p>
        </p:txBody>
      </p:sp>
      <p:pic>
        <p:nvPicPr>
          <p:cNvPr id="3" name="Imagen 2">
            <a:extLst>
              <a:ext uri="{FF2B5EF4-FFF2-40B4-BE49-F238E27FC236}">
                <a16:creationId xmlns:a16="http://schemas.microsoft.com/office/drawing/2014/main" id="{3F859C34-B88F-E580-A53C-55C70F857306}"/>
              </a:ext>
            </a:extLst>
          </p:cNvPr>
          <p:cNvPicPr>
            <a:picLocks noChangeAspect="1"/>
          </p:cNvPicPr>
          <p:nvPr/>
        </p:nvPicPr>
        <p:blipFill>
          <a:blip r:embed="rId4"/>
          <a:stretch>
            <a:fillRect/>
          </a:stretch>
        </p:blipFill>
        <p:spPr>
          <a:xfrm>
            <a:off x="8810864" y="2913854"/>
            <a:ext cx="3034676" cy="1572343"/>
          </a:xfrm>
          <a:prstGeom prst="rect">
            <a:avLst/>
          </a:prstGeom>
        </p:spPr>
      </p:pic>
      <p:pic>
        <p:nvPicPr>
          <p:cNvPr id="7" name="Imagen 6">
            <a:extLst>
              <a:ext uri="{FF2B5EF4-FFF2-40B4-BE49-F238E27FC236}">
                <a16:creationId xmlns:a16="http://schemas.microsoft.com/office/drawing/2014/main" id="{D78FC84C-8DD8-9415-6C4D-FEABE0335B53}"/>
              </a:ext>
            </a:extLst>
          </p:cNvPr>
          <p:cNvPicPr>
            <a:picLocks noChangeAspect="1"/>
          </p:cNvPicPr>
          <p:nvPr/>
        </p:nvPicPr>
        <p:blipFill>
          <a:blip r:embed="rId5"/>
          <a:stretch>
            <a:fillRect/>
          </a:stretch>
        </p:blipFill>
        <p:spPr>
          <a:xfrm>
            <a:off x="8815063" y="4703293"/>
            <a:ext cx="3030477" cy="1572342"/>
          </a:xfrm>
          <a:prstGeom prst="rect">
            <a:avLst/>
          </a:prstGeom>
        </p:spPr>
      </p:pic>
    </p:spTree>
    <p:extLst>
      <p:ext uri="{BB962C8B-B14F-4D97-AF65-F5344CB8AC3E}">
        <p14:creationId xmlns:p14="http://schemas.microsoft.com/office/powerpoint/2010/main" val="1516587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7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11.xml><?xml version="1.0" encoding="utf-8"?>
<a:theme xmlns:a="http://schemas.openxmlformats.org/drawingml/2006/main" name="8_MasterFormat">
  <a:themeElements>
    <a:clrScheme name="Personalizado 1">
      <a:dk1>
        <a:srgbClr val="757095"/>
      </a:dk1>
      <a:lt1>
        <a:sysClr val="window" lastClr="FFFFFF"/>
      </a:lt1>
      <a:dk2>
        <a:srgbClr val="757095"/>
      </a:dk2>
      <a:lt2>
        <a:srgbClr val="F2F3F2"/>
      </a:lt2>
      <a:accent1>
        <a:srgbClr val="6200EE"/>
      </a:accent1>
      <a:accent2>
        <a:srgbClr val="FDBC64"/>
      </a:accent2>
      <a:accent3>
        <a:srgbClr val="757095"/>
      </a:accent3>
      <a:accent4>
        <a:srgbClr val="9583FF"/>
      </a:accent4>
      <a:accent5>
        <a:srgbClr val="5E3FD1"/>
      </a:accent5>
      <a:accent6>
        <a:srgbClr val="BB86FC"/>
      </a:accent6>
      <a:hlink>
        <a:srgbClr val="23036A"/>
      </a:hlink>
      <a:folHlink>
        <a:srgbClr val="9583FF"/>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12.xml><?xml version="1.0" encoding="utf-8"?>
<a:theme xmlns:a="http://schemas.openxmlformats.org/drawingml/2006/main" name="3_Template1">
  <a:themeElements>
    <a:clrScheme name="Iota Mackenzie">
      <a:dk1>
        <a:srgbClr val="304258"/>
      </a:dk1>
      <a:lt1>
        <a:sysClr val="window" lastClr="FFFFFF"/>
      </a:lt1>
      <a:dk2>
        <a:srgbClr val="23036A"/>
      </a:dk2>
      <a:lt2>
        <a:srgbClr val="F2F3F2"/>
      </a:lt2>
      <a:accent1>
        <a:srgbClr val="6200EE"/>
      </a:accent1>
      <a:accent2>
        <a:srgbClr val="03DAC5"/>
      </a:accent2>
      <a:accent3>
        <a:srgbClr val="4F37AA"/>
      </a:accent3>
      <a:accent4>
        <a:srgbClr val="9583FF"/>
      </a:accent4>
      <a:accent5>
        <a:srgbClr val="7F39FB"/>
      </a:accent5>
      <a:accent6>
        <a:srgbClr val="BB86FC"/>
      </a:accent6>
      <a:hlink>
        <a:srgbClr val="00E1B7"/>
      </a:hlink>
      <a:folHlink>
        <a:srgbClr val="9583FF"/>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1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3.xml><?xml version="1.0" encoding="utf-8"?>
<a:theme xmlns:a="http://schemas.openxmlformats.org/drawingml/2006/main" name="1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4.xml><?xml version="1.0" encoding="utf-8"?>
<a:theme xmlns:a="http://schemas.openxmlformats.org/drawingml/2006/main" name="2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5.xml><?xml version="1.0" encoding="utf-8"?>
<a:theme xmlns:a="http://schemas.openxmlformats.org/drawingml/2006/main" name="3_MasterFormat">
  <a:themeElements>
    <a:clrScheme name="Personalizado 1">
      <a:dk1>
        <a:srgbClr val="757095"/>
      </a:dk1>
      <a:lt1>
        <a:sysClr val="window" lastClr="FFFFFF"/>
      </a:lt1>
      <a:dk2>
        <a:srgbClr val="757095"/>
      </a:dk2>
      <a:lt2>
        <a:srgbClr val="F2F3F2"/>
      </a:lt2>
      <a:accent1>
        <a:srgbClr val="6200EE"/>
      </a:accent1>
      <a:accent2>
        <a:srgbClr val="FDBC64"/>
      </a:accent2>
      <a:accent3>
        <a:srgbClr val="757095"/>
      </a:accent3>
      <a:accent4>
        <a:srgbClr val="9583FF"/>
      </a:accent4>
      <a:accent5>
        <a:srgbClr val="5E3FD1"/>
      </a:accent5>
      <a:accent6>
        <a:srgbClr val="BB86FC"/>
      </a:accent6>
      <a:hlink>
        <a:srgbClr val="23036A"/>
      </a:hlink>
      <a:folHlink>
        <a:srgbClr val="9583FF"/>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6.xml><?xml version="1.0" encoding="utf-8"?>
<a:theme xmlns:a="http://schemas.openxmlformats.org/drawingml/2006/main" name="4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7.xml><?xml version="1.0" encoding="utf-8"?>
<a:theme xmlns:a="http://schemas.openxmlformats.org/drawingml/2006/main" name="5_MasterFormat">
  <a:themeElements>
    <a:clrScheme name="Personalizado 2">
      <a:dk1>
        <a:srgbClr val="757095"/>
      </a:dk1>
      <a:lt1>
        <a:sysClr val="window" lastClr="FFFFFF"/>
      </a:lt1>
      <a:dk2>
        <a:srgbClr val="757095"/>
      </a:dk2>
      <a:lt2>
        <a:srgbClr val="F2F3F2"/>
      </a:lt2>
      <a:accent1>
        <a:srgbClr val="6200EE"/>
      </a:accent1>
      <a:accent2>
        <a:srgbClr val="DFC8FF"/>
      </a:accent2>
      <a:accent3>
        <a:srgbClr val="757095"/>
      </a:accent3>
      <a:accent4>
        <a:srgbClr val="9583FF"/>
      </a:accent4>
      <a:accent5>
        <a:srgbClr val="5E3FD1"/>
      </a:accent5>
      <a:accent6>
        <a:srgbClr val="BB86FC"/>
      </a:accent6>
      <a:hlink>
        <a:srgbClr val="23036A"/>
      </a:hlink>
      <a:folHlink>
        <a:srgbClr val="9583FF"/>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8.xml><?xml version="1.0" encoding="utf-8"?>
<a:theme xmlns:a="http://schemas.openxmlformats.org/drawingml/2006/main" name="6_MasterFormat">
  <a:themeElements>
    <a:clrScheme name="Personalizado 2">
      <a:dk1>
        <a:srgbClr val="757095"/>
      </a:dk1>
      <a:lt1>
        <a:sysClr val="window" lastClr="FFFFFF"/>
      </a:lt1>
      <a:dk2>
        <a:srgbClr val="757095"/>
      </a:dk2>
      <a:lt2>
        <a:srgbClr val="F2F3F2"/>
      </a:lt2>
      <a:accent1>
        <a:srgbClr val="6200EE"/>
      </a:accent1>
      <a:accent2>
        <a:srgbClr val="DFC8FF"/>
      </a:accent2>
      <a:accent3>
        <a:srgbClr val="757095"/>
      </a:accent3>
      <a:accent4>
        <a:srgbClr val="9583FF"/>
      </a:accent4>
      <a:accent5>
        <a:srgbClr val="5E3FD1"/>
      </a:accent5>
      <a:accent6>
        <a:srgbClr val="BB86FC"/>
      </a:accent6>
      <a:hlink>
        <a:srgbClr val="23036A"/>
      </a:hlink>
      <a:folHlink>
        <a:srgbClr val="9583FF"/>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9.xml><?xml version="1.0" encoding="utf-8"?>
<a:theme xmlns:a="http://schemas.openxmlformats.org/drawingml/2006/main" name="2_Template1">
  <a:themeElements>
    <a:clrScheme name="Iota Mackenzie">
      <a:dk1>
        <a:srgbClr val="304258"/>
      </a:dk1>
      <a:lt1>
        <a:sysClr val="window" lastClr="FFFFFF"/>
      </a:lt1>
      <a:dk2>
        <a:srgbClr val="23036A"/>
      </a:dk2>
      <a:lt2>
        <a:srgbClr val="F2F3F2"/>
      </a:lt2>
      <a:accent1>
        <a:srgbClr val="6200EE"/>
      </a:accent1>
      <a:accent2>
        <a:srgbClr val="03DAC5"/>
      </a:accent2>
      <a:accent3>
        <a:srgbClr val="4F37AA"/>
      </a:accent3>
      <a:accent4>
        <a:srgbClr val="9583FF"/>
      </a:accent4>
      <a:accent5>
        <a:srgbClr val="7F39FB"/>
      </a:accent5>
      <a:accent6>
        <a:srgbClr val="BB86FC"/>
      </a:accent6>
      <a:hlink>
        <a:srgbClr val="00E1B7"/>
      </a:hlink>
      <a:folHlink>
        <a:srgbClr val="9583FF"/>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5755BCF414E0048ADBC2431D892B0DC" ma:contentTypeVersion="20" ma:contentTypeDescription="Create a new document." ma:contentTypeScope="" ma:versionID="1d06465fda05505bfa5c0881b8d1e677">
  <xsd:schema xmlns:xsd="http://www.w3.org/2001/XMLSchema" xmlns:xs="http://www.w3.org/2001/XMLSchema" xmlns:p="http://schemas.microsoft.com/office/2006/metadata/properties" xmlns:ns1="http://schemas.microsoft.com/sharepoint/v3" xmlns:ns2="ffc5cefe-ac89-4e14-8e5a-90f883c51146" xmlns:ns3="06139398-4609-45ac-9700-27e921864882" targetNamespace="http://schemas.microsoft.com/office/2006/metadata/properties" ma:root="true" ma:fieldsID="2ffc3c03c457801836dc52958688df83" ns1:_="" ns2:_="" ns3:_="">
    <xsd:import namespace="http://schemas.microsoft.com/sharepoint/v3"/>
    <xsd:import namespace="ffc5cefe-ac89-4e14-8e5a-90f883c51146"/>
    <xsd:import namespace="06139398-4609-45ac-9700-27e92186488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MediaServiceGenerationTime" minOccurs="0"/>
                <xsd:element ref="ns2:MediaServiceEventHashCode" minOccurs="0"/>
                <xsd:element ref="ns3:SharedWithUsers" minOccurs="0"/>
                <xsd:element ref="ns3:SharedWithDetails" minOccurs="0"/>
                <xsd:element ref="ns1:_ip_UnifiedCompliancePolicyProperties" minOccurs="0"/>
                <xsd:element ref="ns1:_ip_UnifiedCompliancePolicyUIAction" minOccurs="0"/>
                <xsd:element ref="ns2:lcf76f155ced4ddcb4097134ff3c332f" minOccurs="0"/>
                <xsd:element ref="ns3:TaxCatchAll" minOccurs="0"/>
                <xsd:element ref="ns2:MediaServiceLocation" minOccurs="0"/>
                <xsd:element ref="ns2:MediaServiceOCR" minOccurs="0"/>
                <xsd:element ref="ns2:MediaServiceSearchProperties" minOccurs="0"/>
                <xsd:element ref="ns2:_Flow_SignoffStatus" minOccurs="0"/>
                <xsd:element ref="ns2:Fecha" minOccurs="0"/>
                <xsd:element ref="ns2: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c5cefe-ac89-4e14-8e5a-90f883c511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63af4c8-5eea-47da-b6e7-aa56a18264a9"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_Flow_SignoffStatus" ma:index="25" nillable="true" ma:displayName="Sign-off status" ma:internalName="Sign_x002d_off_x0020_status">
      <xsd:simpleType>
        <xsd:restriction base="dms:Text"/>
      </xsd:simpleType>
    </xsd:element>
    <xsd:element name="Fecha" ma:index="26" nillable="true" ma:displayName="Fecha" ma:format="DateOnly" ma:internalName="Fecha">
      <xsd:simpleType>
        <xsd:restriction base="dms:DateTime"/>
      </xsd:simpleType>
    </xsd:element>
    <xsd:element name="Date" ma:index="27" nillable="true" ma:displayName="Date" ma:format="DateOnly" ma:internalNam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6139398-4609-45ac-9700-27e92186488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89970671-77d0-4a91-82b1-53977b79784a}" ma:internalName="TaxCatchAll" ma:showField="CatchAllData" ma:web="06139398-4609-45ac-9700-27e92186488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06139398-4609-45ac-9700-27e921864882" xsi:nil="true"/>
    <lcf76f155ced4ddcb4097134ff3c332f xmlns="ffc5cefe-ac89-4e14-8e5a-90f883c51146">
      <Terms xmlns="http://schemas.microsoft.com/office/infopath/2007/PartnerControls"/>
    </lcf76f155ced4ddcb4097134ff3c332f>
    <_ip_UnifiedCompliancePolicyProperties xmlns="http://schemas.microsoft.com/sharepoint/v3" xsi:nil="true"/>
    <Fecha xmlns="ffc5cefe-ac89-4e14-8e5a-90f883c51146" xsi:nil="true"/>
    <Date xmlns="ffc5cefe-ac89-4e14-8e5a-90f883c51146" xsi:nil="true"/>
    <_Flow_SignoffStatus xmlns="ffc5cefe-ac89-4e14-8e5a-90f883c51146" xsi:nil="true"/>
  </documentManagement>
</p:properties>
</file>

<file path=customXml/itemProps1.xml><?xml version="1.0" encoding="utf-8"?>
<ds:datastoreItem xmlns:ds="http://schemas.openxmlformats.org/officeDocument/2006/customXml" ds:itemID="{B97E52B2-799F-4A49-B9BB-501DE772452B}"/>
</file>

<file path=customXml/itemProps2.xml><?xml version="1.0" encoding="utf-8"?>
<ds:datastoreItem xmlns:ds="http://schemas.openxmlformats.org/officeDocument/2006/customXml" ds:itemID="{126C54F4-363B-4425-A5B2-A3BAE6E12383}">
  <ds:schemaRefs>
    <ds:schemaRef ds:uri="http://schemas.microsoft.com/sharepoint/v3/contenttype/forms"/>
  </ds:schemaRefs>
</ds:datastoreItem>
</file>

<file path=customXml/itemProps3.xml><?xml version="1.0" encoding="utf-8"?>
<ds:datastoreItem xmlns:ds="http://schemas.openxmlformats.org/officeDocument/2006/customXml" ds:itemID="{46F9378F-70EC-4A07-80BA-3FC1DF292AD9}"/>
</file>

<file path=docProps/app.xml><?xml version="1.0" encoding="utf-8"?>
<Properties xmlns="http://schemas.openxmlformats.org/officeDocument/2006/extended-properties" xmlns:vt="http://schemas.openxmlformats.org/officeDocument/2006/docPropsVTypes">
  <TotalTime>353</TotalTime>
  <Words>4902</Words>
  <Application>Microsoft Office PowerPoint</Application>
  <PresentationFormat>Widescreen</PresentationFormat>
  <Paragraphs>617</Paragraphs>
  <Slides>30</Slides>
  <Notes>15</Notes>
  <HiddenSlides>0</HiddenSlides>
  <MMClips>10</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30</vt:i4>
      </vt:variant>
    </vt:vector>
  </HeadingPairs>
  <TitlesOfParts>
    <vt:vector size="64" baseType="lpstr">
      <vt:lpstr>Aptos</vt:lpstr>
      <vt:lpstr>Aptos Display</vt:lpstr>
      <vt:lpstr>Arial</vt:lpstr>
      <vt:lpstr>Bahnschrift SemiBold</vt:lpstr>
      <vt:lpstr>Calibri</vt:lpstr>
      <vt:lpstr>Helvetica</vt:lpstr>
      <vt:lpstr>Mulish</vt:lpstr>
      <vt:lpstr>Open Sans Light</vt:lpstr>
      <vt:lpstr>Poppins</vt:lpstr>
      <vt:lpstr>Poppins Bold</vt:lpstr>
      <vt:lpstr>Poppins ExtraLight</vt:lpstr>
      <vt:lpstr>Poppins Light</vt:lpstr>
      <vt:lpstr>Poppins Medium</vt:lpstr>
      <vt:lpstr>Segoe UI</vt:lpstr>
      <vt:lpstr>Söhne</vt:lpstr>
      <vt:lpstr>Times New Roman</vt:lpstr>
      <vt:lpstr>Trebuchet MS</vt:lpstr>
      <vt:lpstr>webapp1_icons_cc</vt:lpstr>
      <vt:lpstr>Wingdings</vt:lpstr>
      <vt:lpstr>Work Sans</vt:lpstr>
      <vt:lpstr>WORK SANS REGULAR ROMAN</vt:lpstr>
      <vt:lpstr>1_Tema de Office</vt:lpstr>
      <vt:lpstr>MasterFormat</vt:lpstr>
      <vt:lpstr>1_MasterFormat</vt:lpstr>
      <vt:lpstr>2_MasterFormat</vt:lpstr>
      <vt:lpstr>3_MasterFormat</vt:lpstr>
      <vt:lpstr>4_MasterFormat</vt:lpstr>
      <vt:lpstr>5_MasterFormat</vt:lpstr>
      <vt:lpstr>6_MasterFormat</vt:lpstr>
      <vt:lpstr>2_Template1</vt:lpstr>
      <vt:lpstr>7_MasterFormat</vt:lpstr>
      <vt:lpstr>8_MasterFormat</vt:lpstr>
      <vt:lpstr>3_Template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M and SAM analysis for service provider to fire and law enforcement departments</vt:lpstr>
      <vt:lpstr>PowerPoint Presentation</vt:lpstr>
      <vt:lpstr>PowerPoint Presentation</vt:lpstr>
      <vt:lpstr>PowerPoint Presentation</vt:lpstr>
      <vt:lpstr>Most people prefer websites organized by product or by space.</vt:lpstr>
      <vt:lpstr>PowerPoint Presentation</vt:lpstr>
      <vt:lpstr>D2C approach can be coupled with the institutional approach to provide a high-value offer to the HED segment.</vt:lpstr>
      <vt:lpstr>Recommended adjacent product portfolio for D2C</vt:lpstr>
      <vt:lpstr>PowerPoint Presentation</vt:lpstr>
      <vt:lpstr>PowerPoint Presentation</vt:lpstr>
      <vt:lpstr>The IOTA Differential.</vt:lpstr>
      <vt:lpstr>Strategic Agility, Enhanced Growth</vt:lpstr>
      <vt:lpstr>Our capabilities benefit a wide variety of industries. Here are some examples from our IOTA Alliance clients.</vt:lpstr>
      <vt:lpstr>PowerPoint Presentation</vt:lpstr>
      <vt:lpstr>Team</vt:lpstr>
      <vt:lpstr>Project directors</vt:lpstr>
      <vt:lpstr>Project timeline</vt:lpstr>
      <vt:lpstr>PowerPoint Presentation</vt:lpstr>
      <vt:lpstr>Investmen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Andres Satizabal</cp:lastModifiedBy>
  <cp:revision>6</cp:revision>
  <dcterms:created xsi:type="dcterms:W3CDTF">2024-07-08T19:10:22Z</dcterms:created>
  <dcterms:modified xsi:type="dcterms:W3CDTF">2024-07-10T16:1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755BCF414E0048ADBC2431D892B0DC</vt:lpwstr>
  </property>
</Properties>
</file>